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37.xml" ContentType="application/vnd.openxmlformats-officedocument.drawingml.chart+xml"/>
  <Override PartName="/ppt/charts/chart38.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43.xml" ContentType="application/vnd.openxmlformats-officedocument.drawingml.chart+xml"/>
  <Override PartName="/ppt/charts/chart44.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49.xml" ContentType="application/vnd.openxmlformats-officedocument.drawingml.chart+xml"/>
  <Override PartName="/ppt/charts/chart50.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55.xml" ContentType="application/vnd.openxmlformats-officedocument.drawingml.chart+xml"/>
  <Override PartName="/ppt/charts/chart56.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67.xml" ContentType="application/vnd.openxmlformats-officedocument.drawingml.chart+xml"/>
  <Override PartName="/ppt/charts/chart68.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73.xml" ContentType="application/vnd.openxmlformats-officedocument.drawingml.chart+xml"/>
  <Override PartName="/ppt/charts/chart74.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79.xml" ContentType="application/vnd.openxmlformats-officedocument.drawingml.chart+xml"/>
  <Override PartName="/ppt/charts/chart80.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91.xml" ContentType="application/vnd.openxmlformats-officedocument.drawingml.chart+xml"/>
  <Override PartName="/ppt/charts/chart92.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97.xml" ContentType="application/vnd.openxmlformats-officedocument.drawingml.chart+xml"/>
  <Override PartName="/ppt/charts/chart98.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103.xml" ContentType="application/vnd.openxmlformats-officedocument.drawingml.chart+xml"/>
  <Override PartName="/ppt/charts/chart104.xml" ContentType="application/vnd.openxmlformats-officedocument.drawingml.chart+xml"/>
  <Override PartName="/ppt/tags/tag63.xml" ContentType="application/vnd.openxmlformats-officedocument.presentationml.tags+xml"/>
  <Override PartName="/ppt/notesSlides/notesSlide36.xml" ContentType="application/vnd.openxmlformats-officedocument.presentationml.notesSlide+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notesSlides/notesSlide37.xml" ContentType="application/vnd.openxmlformats-officedocument.presentationml.notesSlide+xml"/>
  <Override PartName="/ppt/charts/chart109.xml" ContentType="application/vnd.openxmlformats-officedocument.drawingml.chart+xml"/>
  <Override PartName="/ppt/charts/chart110.xml" ContentType="application/vnd.openxmlformats-officedocument.drawingml.chart+xml"/>
  <Override PartName="/ppt/tags/tag65.xml" ContentType="application/vnd.openxmlformats-officedocument.presentationml.tags+xml"/>
  <Override PartName="/ppt/notesSlides/notesSlide38.xml" ContentType="application/vnd.openxmlformats-officedocument.presentationml.notesSlide+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notesSlides/notesSlide39.xml" ContentType="application/vnd.openxmlformats-officedocument.presentationml.notesSlide+xml"/>
  <Override PartName="/ppt/charts/chart115.xml" ContentType="application/vnd.openxmlformats-officedocument.drawingml.chart+xml"/>
  <Override PartName="/ppt/charts/chart116.xml" ContentType="application/vnd.openxmlformats-officedocument.drawingml.chart+xml"/>
  <Override PartName="/ppt/tags/tag67.xml" ContentType="application/vnd.openxmlformats-officedocument.presentationml.tags+xml"/>
  <Override PartName="/ppt/notesSlides/notesSlide40.xml" ContentType="application/vnd.openxmlformats-officedocument.presentationml.notesSlide+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notesSlides/notesSlide41.xml" ContentType="application/vnd.openxmlformats-officedocument.presentationml.notesSlide+xml"/>
  <Override PartName="/ppt/charts/chart121.xml" ContentType="application/vnd.openxmlformats-officedocument.drawingml.chart+xml"/>
  <Override PartName="/ppt/charts/chart122.xml" ContentType="application/vnd.openxmlformats-officedocument.drawingml.chart+xml"/>
  <Override PartName="/ppt/tags/tag69.xml" ContentType="application/vnd.openxmlformats-officedocument.presentationml.tags+xml"/>
  <Override PartName="/ppt/notesSlides/notesSlide42.xml" ContentType="application/vnd.openxmlformats-officedocument.presentationml.notesSlide+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notesSlides/notesSlide43.xml" ContentType="application/vnd.openxmlformats-officedocument.presentationml.notesSlide+xml"/>
  <Override PartName="/ppt/charts/chart127.xml" ContentType="application/vnd.openxmlformats-officedocument.drawingml.chart+xml"/>
  <Override PartName="/ppt/charts/chart128.xml" ContentType="application/vnd.openxmlformats-officedocument.drawingml.chart+xml"/>
  <Override PartName="/ppt/tags/tag71.xml" ContentType="application/vnd.openxmlformats-officedocument.presentationml.tags+xml"/>
  <Override PartName="/ppt/notesSlides/notesSlide44.xml" ContentType="application/vnd.openxmlformats-officedocument.presentationml.notesSlide+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notesSlides/notesSlide45.xml" ContentType="application/vnd.openxmlformats-officedocument.presentationml.notesSlide+xml"/>
  <Override PartName="/ppt/charts/chart133.xml" ContentType="application/vnd.openxmlformats-officedocument.drawingml.chart+xml"/>
  <Override PartName="/ppt/charts/chart134.xml" ContentType="application/vnd.openxmlformats-officedocument.drawingml.chart+xml"/>
  <Override PartName="/ppt/tags/tag73.xml" ContentType="application/vnd.openxmlformats-officedocument.presentationml.tags+xml"/>
  <Override PartName="/ppt/notesSlides/notesSlide46.xml" ContentType="application/vnd.openxmlformats-officedocument.presentationml.notesSlide+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tags/tag74.xml" ContentType="application/vnd.openxmlformats-officedocument.presentationml.tags+xml"/>
  <Override PartName="/ppt/notesSlides/notesSlide47.xml" ContentType="application/vnd.openxmlformats-officedocument.presentationml.notesSlide+xml"/>
  <Override PartName="/ppt/charts/chart139.xml" ContentType="application/vnd.openxmlformats-officedocument.drawingml.chart+xml"/>
  <Override PartName="/ppt/charts/chart140.xml" ContentType="application/vnd.openxmlformats-officedocument.drawingml.chart+xml"/>
  <Override PartName="/ppt/tags/tag75.xml" ContentType="application/vnd.openxmlformats-officedocument.presentationml.tags+xml"/>
  <Override PartName="/ppt/notesSlides/notesSlide48.xml" ContentType="application/vnd.openxmlformats-officedocument.presentationml.notesSlide+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76.xml" ContentType="application/vnd.openxmlformats-officedocument.presentationml.tags+xml"/>
  <Override PartName="/ppt/notesSlides/notesSlide49.xml" ContentType="application/vnd.openxmlformats-officedocument.presentationml.notesSlide+xml"/>
  <Override PartName="/ppt/charts/chart145.xml" ContentType="application/vnd.openxmlformats-officedocument.drawingml.chart+xml"/>
  <Override PartName="/ppt/charts/chart146.xml" ContentType="application/vnd.openxmlformats-officedocument.drawingml.chart+xml"/>
  <Override PartName="/ppt/tags/tag77.xml" ContentType="application/vnd.openxmlformats-officedocument.presentationml.tags+xml"/>
  <Override PartName="/ppt/notesSlides/notesSlide50.xml" ContentType="application/vnd.openxmlformats-officedocument.presentationml.notesSlide+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tags/tag78.xml" ContentType="application/vnd.openxmlformats-officedocument.presentationml.tags+xml"/>
  <Override PartName="/ppt/notesSlides/notesSlide51.xml" ContentType="application/vnd.openxmlformats-officedocument.presentationml.notesSlide+xml"/>
  <Override PartName="/ppt/charts/chart151.xml" ContentType="application/vnd.openxmlformats-officedocument.drawingml.chart+xml"/>
  <Override PartName="/ppt/charts/chart152.xml" ContentType="application/vnd.openxmlformats-officedocument.drawingml.chart+xml"/>
  <Override PartName="/ppt/tags/tag79.xml" ContentType="application/vnd.openxmlformats-officedocument.presentationml.tags+xml"/>
  <Override PartName="/ppt/notesSlides/notesSlide52.xml" ContentType="application/vnd.openxmlformats-officedocument.presentationml.notesSlide+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0.xml" ContentType="application/vnd.openxmlformats-officedocument.presentationml.tags+xml"/>
  <Override PartName="/ppt/notesSlides/notesSlide53.xml" ContentType="application/vnd.openxmlformats-officedocument.presentationml.notesSlide+xml"/>
  <Override PartName="/ppt/charts/chart157.xml" ContentType="application/vnd.openxmlformats-officedocument.drawingml.chart+xml"/>
  <Override PartName="/ppt/charts/chart158.xml" ContentType="application/vnd.openxmlformats-officedocument.drawingml.chart+xml"/>
  <Override PartName="/ppt/tags/tag81.xml" ContentType="application/vnd.openxmlformats-officedocument.presentationml.tags+xml"/>
  <Override PartName="/ppt/notesSlides/notesSlide54.xml" ContentType="application/vnd.openxmlformats-officedocument.presentationml.notesSlide+xml"/>
  <Override PartName="/ppt/charts/chart159.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tags/tag82.xml" ContentType="application/vnd.openxmlformats-officedocument.presentationml.tags+xml"/>
  <Override PartName="/ppt/notesSlides/notesSlide55.xml" ContentType="application/vnd.openxmlformats-officedocument.presentationml.notesSlide+xml"/>
  <Override PartName="/ppt/charts/chart163.xml" ContentType="application/vnd.openxmlformats-officedocument.drawingml.chart+xml"/>
  <Override PartName="/ppt/charts/chart164.xml" ContentType="application/vnd.openxmlformats-officedocument.drawingml.chart+xml"/>
  <Override PartName="/ppt/tags/tag83.xml" ContentType="application/vnd.openxmlformats-officedocument.presentationml.tags+xml"/>
  <Override PartName="/ppt/notesSlides/notesSlide56.xml" ContentType="application/vnd.openxmlformats-officedocument.presentationml.notesSlide+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84.xml" ContentType="application/vnd.openxmlformats-officedocument.presentationml.tags+xml"/>
  <Override PartName="/ppt/notesSlides/notesSlide57.xml" ContentType="application/vnd.openxmlformats-officedocument.presentationml.notesSlide+xml"/>
  <Override PartName="/ppt/charts/chart169.xml" ContentType="application/vnd.openxmlformats-officedocument.drawingml.chart+xml"/>
  <Override PartName="/ppt/charts/chart170.xml" ContentType="application/vnd.openxmlformats-officedocument.drawingml.chart+xml"/>
  <Override PartName="/ppt/tags/tag85.xml" ContentType="application/vnd.openxmlformats-officedocument.presentationml.tags+xml"/>
  <Override PartName="/ppt/notesSlides/notesSlide58.xml" ContentType="application/vnd.openxmlformats-officedocument.presentationml.notesSlide+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86.xml" ContentType="application/vnd.openxmlformats-officedocument.presentationml.tags+xml"/>
  <Override PartName="/ppt/notesSlides/notesSlide59.xml" ContentType="application/vnd.openxmlformats-officedocument.presentationml.notesSlide+xml"/>
  <Override PartName="/ppt/charts/chart175.xml" ContentType="application/vnd.openxmlformats-officedocument.drawingml.chart+xml"/>
  <Override PartName="/ppt/charts/chart176.xml" ContentType="application/vnd.openxmlformats-officedocument.drawingml.chart+xml"/>
  <Override PartName="/ppt/tags/tag87.xml" ContentType="application/vnd.openxmlformats-officedocument.presentationml.tags+xml"/>
  <Override PartName="/ppt/notesSlides/notesSlide60.xml" ContentType="application/vnd.openxmlformats-officedocument.presentationml.notesSlide+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88.xml" ContentType="application/vnd.openxmlformats-officedocument.presentationml.tags+xml"/>
  <Override PartName="/ppt/notesSlides/notesSlide61.xml" ContentType="application/vnd.openxmlformats-officedocument.presentationml.notesSlide+xml"/>
  <Override PartName="/ppt/charts/chart181.xml" ContentType="application/vnd.openxmlformats-officedocument.drawingml.chart+xml"/>
  <Override PartName="/ppt/charts/chart182.xml" ContentType="application/vnd.openxmlformats-officedocument.drawingml.chart+xml"/>
  <Override PartName="/ppt/tags/tag89.xml" ContentType="application/vnd.openxmlformats-officedocument.presentationml.tags+xml"/>
  <Override PartName="/ppt/notesSlides/notesSlide62.xml" ContentType="application/vnd.openxmlformats-officedocument.presentationml.notesSlide+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tags/tag90.xml" ContentType="application/vnd.openxmlformats-officedocument.presentationml.tags+xml"/>
  <Override PartName="/ppt/notesSlides/notesSlide63.xml" ContentType="application/vnd.openxmlformats-officedocument.presentationml.notesSlide+xml"/>
  <Override PartName="/ppt/charts/chart187.xml" ContentType="application/vnd.openxmlformats-officedocument.drawingml.chart+xml"/>
  <Override PartName="/ppt/charts/chart188.xml" ContentType="application/vnd.openxmlformats-officedocument.drawingml.chart+xml"/>
  <Override PartName="/ppt/tags/tag91.xml" ContentType="application/vnd.openxmlformats-officedocument.presentationml.tags+xml"/>
  <Override PartName="/ppt/notesSlides/notesSlide64.xml" ContentType="application/vnd.openxmlformats-officedocument.presentationml.notesSlide+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2.xml" ContentType="application/vnd.openxmlformats-officedocument.presentationml.tags+xml"/>
  <Override PartName="/ppt/notesSlides/notesSlide65.xml" ContentType="application/vnd.openxmlformats-officedocument.presentationml.notesSlide+xml"/>
  <Override PartName="/ppt/charts/chart193.xml" ContentType="application/vnd.openxmlformats-officedocument.drawingml.chart+xml"/>
  <Override PartName="/ppt/charts/chart194.xml" ContentType="application/vnd.openxmlformats-officedocument.drawingml.chart+xml"/>
  <Override PartName="/ppt/tags/tag93.xml" ContentType="application/vnd.openxmlformats-officedocument.presentationml.tags+xml"/>
  <Override PartName="/ppt/notesSlides/notesSlide66.xml" ContentType="application/vnd.openxmlformats-officedocument.presentationml.notesSlide+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7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Retailer By Category" id="{8805FB5A-0F03-4E7D-97B7-45622AF91F1A}">
          <p14:sldIdLst>
            <p14:sldId id="2147475173"/>
            <p14:sldId id="2147475174"/>
            <p14:sldId id="2147475175"/>
            <p14:sldId id="2147475176"/>
            <p14:sldId id="2147475177"/>
            <p14:sldId id="2147475178"/>
          </p14:sldIdLst>
        </p14:section>
        <p14:section name="Brackets By Retailer By Sector" id="{17586098-0781-49EF-A7FC-081F1654E3A1}">
          <p14:sldIdLst>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Lst>
        </p14:section>
        <p14:section name="Brackets By Retailer By Segment" id="{D906FC80-8FB6-43B2-8CF3-D7D52DF4C5E1}">
          <p14:sldIdLst>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85" d="100"/>
          <a:sy n="85" d="100"/>
        </p:scale>
        <p:origin x="444" y="84"/>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microsoft.com/office/2018/10/relationships/authors" Target="author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2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7.2323910850997956E-3</c:v>
                </c:pt>
                <c:pt idx="1">
                  <c:v>3.0029374209639585E-2</c:v>
                </c:pt>
                <c:pt idx="2">
                  <c:v>1.3260072235208328E-2</c:v>
                </c:pt>
                <c:pt idx="3">
                  <c:v>4.1537920103246036E-2</c:v>
                </c:pt>
                <c:pt idx="4">
                  <c:v>7.5562270831831257E-2</c:v>
                </c:pt>
                <c:pt idx="5">
                  <c:v>6.1540284095095411E-2</c:v>
                </c:pt>
                <c:pt idx="6">
                  <c:v>0.1831223576647234</c:v>
                </c:pt>
                <c:pt idx="7">
                  <c:v>0.26794164527376069</c:v>
                </c:pt>
                <c:pt idx="8">
                  <c:v>0.12529305571168425</c:v>
                </c:pt>
                <c:pt idx="9">
                  <c:v>0.11952001296739617</c:v>
                </c:pt>
                <c:pt idx="10">
                  <c:v>7.3834885075368853E-2</c:v>
                </c:pt>
                <c:pt idx="11">
                  <c:v>9.7924674007412852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9.6116834867528214E-3</c:v>
                </c:pt>
                <c:pt idx="3">
                  <c:v>8.0702682118940269E-3</c:v>
                </c:pt>
                <c:pt idx="5">
                  <c:v>8.9468476447193983E-4</c:v>
                </c:pt>
                <c:pt idx="8">
                  <c:v>8.7428205883108116E-3</c:v>
                </c:pt>
                <c:pt idx="9">
                  <c:v>1.5639815268826257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3.5553742015450741E-3</c:v>
                </c:pt>
                <c:pt idx="4">
                  <c:v>0.10056376439324646</c:v>
                </c:pt>
                <c:pt idx="6">
                  <c:v>0.20390060448269487</c:v>
                </c:pt>
                <c:pt idx="7">
                  <c:v>0.5480297958742949</c:v>
                </c:pt>
                <c:pt idx="8">
                  <c:v>1.1403440221557173E-2</c:v>
                </c:pt>
                <c:pt idx="10">
                  <c:v>0.10372738096186646</c:v>
                </c:pt>
                <c:pt idx="11">
                  <c:v>2.8702359852052911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5.3856141960207543E-4</c:v>
                </c:pt>
                <c:pt idx="1">
                  <c:v>1.5620317363869789E-3</c:v>
                </c:pt>
                <c:pt idx="3">
                  <c:v>5.5489759458103149E-3</c:v>
                </c:pt>
                <c:pt idx="5">
                  <c:v>3.3668270305480336E-2</c:v>
                </c:pt>
                <c:pt idx="7">
                  <c:v>0.29686173713080344</c:v>
                </c:pt>
                <c:pt idx="8">
                  <c:v>0.59156903232339997</c:v>
                </c:pt>
                <c:pt idx="9">
                  <c:v>9.3999366473370392E-3</c:v>
                </c:pt>
                <c:pt idx="10">
                  <c:v>6.084512511267765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2450492937243368E-3</c:v>
                </c:pt>
                <c:pt idx="1">
                  <c:v>2.2320532191512647E-3</c:v>
                </c:pt>
                <c:pt idx="3">
                  <c:v>5.5221708815645486E-3</c:v>
                </c:pt>
                <c:pt idx="5">
                  <c:v>3.2054568203037939E-2</c:v>
                </c:pt>
                <c:pt idx="7">
                  <c:v>0.23745240670836387</c:v>
                </c:pt>
                <c:pt idx="8">
                  <c:v>0.60939570637605789</c:v>
                </c:pt>
                <c:pt idx="9">
                  <c:v>1.7274451092794681E-2</c:v>
                </c:pt>
                <c:pt idx="10">
                  <c:v>9.482359422530545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4.7239854391077266E-2</c:v>
                </c:pt>
                <c:pt idx="8">
                  <c:v>0.86683859195054513</c:v>
                </c:pt>
                <c:pt idx="9">
                  <c:v>8.5358669037621848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4671222901626161E-3</c:v>
                </c:pt>
                <c:pt idx="2">
                  <c:v>0.10369318788070768</c:v>
                </c:pt>
                <c:pt idx="3">
                  <c:v>1.3292401962814945E-2</c:v>
                </c:pt>
                <c:pt idx="5">
                  <c:v>0.39927586436066009</c:v>
                </c:pt>
                <c:pt idx="7">
                  <c:v>9.5854667596162132E-4</c:v>
                </c:pt>
                <c:pt idx="8">
                  <c:v>0.46448408106322292</c:v>
                </c:pt>
                <c:pt idx="9">
                  <c:v>1.678159650636528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6425597825452717E-2</c:v>
                </c:pt>
                <c:pt idx="2">
                  <c:v>7.2109019127578972E-2</c:v>
                </c:pt>
                <c:pt idx="3">
                  <c:v>0.12402220207660479</c:v>
                </c:pt>
                <c:pt idx="4">
                  <c:v>5.0303297755392837E-4</c:v>
                </c:pt>
                <c:pt idx="5">
                  <c:v>0.22171959768659777</c:v>
                </c:pt>
                <c:pt idx="6">
                  <c:v>2.9994597498183262E-3</c:v>
                </c:pt>
                <c:pt idx="7">
                  <c:v>5.5040210686961785E-3</c:v>
                </c:pt>
                <c:pt idx="8">
                  <c:v>0.38358536672772303</c:v>
                </c:pt>
                <c:pt idx="9">
                  <c:v>0.16762790765090618</c:v>
                </c:pt>
                <c:pt idx="10">
                  <c:v>1.6054128463587373E-3</c:v>
                </c:pt>
                <c:pt idx="11">
                  <c:v>3.8292083048375048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467138887234618E-3</c:v>
                </c:pt>
                <c:pt idx="2">
                  <c:v>0.10371095193438469</c:v>
                </c:pt>
                <c:pt idx="3">
                  <c:v>1.3285795569918612E-2</c:v>
                </c:pt>
                <c:pt idx="5">
                  <c:v>0.39936557319765603</c:v>
                </c:pt>
                <c:pt idx="7">
                  <c:v>9.4392691678762779E-4</c:v>
                </c:pt>
                <c:pt idx="8">
                  <c:v>0.46443195410199767</c:v>
                </c:pt>
                <c:pt idx="9">
                  <c:v>1.6750747471297605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8.2098172766123009E-2</c:v>
                </c:pt>
                <c:pt idx="2">
                  <c:v>2.766692599215401E-2</c:v>
                </c:pt>
                <c:pt idx="3">
                  <c:v>0.12152540134740045</c:v>
                </c:pt>
                <c:pt idx="4">
                  <c:v>8.807155321736132E-2</c:v>
                </c:pt>
                <c:pt idx="5">
                  <c:v>0.16399541584917099</c:v>
                </c:pt>
                <c:pt idx="6">
                  <c:v>3.8970122847494021E-3</c:v>
                </c:pt>
                <c:pt idx="7">
                  <c:v>6.62353207000244E-2</c:v>
                </c:pt>
                <c:pt idx="8">
                  <c:v>0.26606437773631458</c:v>
                </c:pt>
                <c:pt idx="9">
                  <c:v>0.16673327506438138</c:v>
                </c:pt>
                <c:pt idx="10">
                  <c:v>1.322740057405335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8.2098172766123009E-2</c:v>
                </c:pt>
                <c:pt idx="3">
                  <c:v>5.7943830949497767E-2</c:v>
                </c:pt>
                <c:pt idx="5">
                  <c:v>4.2700812800336968E-2</c:v>
                </c:pt>
                <c:pt idx="8">
                  <c:v>6.5590918261191081E-2</c:v>
                </c:pt>
                <c:pt idx="9">
                  <c:v>1.2428449738880718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5.4175372255002754E-2</c:v>
                </c:pt>
                <c:pt idx="2">
                  <c:v>9.2660402847081449E-2</c:v>
                </c:pt>
                <c:pt idx="3">
                  <c:v>0.16479500394095559</c:v>
                </c:pt>
                <c:pt idx="4">
                  <c:v>7.0594690426060286E-2</c:v>
                </c:pt>
                <c:pt idx="5">
                  <c:v>0.10830141278533575</c:v>
                </c:pt>
                <c:pt idx="6">
                  <c:v>8.9757687778646202E-3</c:v>
                </c:pt>
                <c:pt idx="7">
                  <c:v>4.2644153977669061E-2</c:v>
                </c:pt>
                <c:pt idx="8">
                  <c:v>0.22660645577361263</c:v>
                </c:pt>
                <c:pt idx="9">
                  <c:v>0.20492307455652828</c:v>
                </c:pt>
                <c:pt idx="10">
                  <c:v>2.5445783256084872E-2</c:v>
                </c:pt>
                <c:pt idx="11">
                  <c:v>8.778814038047288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9.2660402847081449E-2</c:v>
                </c:pt>
                <c:pt idx="3">
                  <c:v>7.7800554359570215E-2</c:v>
                </c:pt>
                <c:pt idx="5">
                  <c:v>8.6251124281583498E-3</c:v>
                </c:pt>
                <c:pt idx="8">
                  <c:v>8.4284223346426851E-2</c:v>
                </c:pt>
                <c:pt idx="9">
                  <c:v>1.507739601767688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8.5517319788469048E-2</c:v>
                </c:pt>
                <c:pt idx="3">
                  <c:v>0.17813299245834574</c:v>
                </c:pt>
                <c:pt idx="5">
                  <c:v>0.21442455324174367</c:v>
                </c:pt>
                <c:pt idx="7">
                  <c:v>1.1509498510208325E-2</c:v>
                </c:pt>
                <c:pt idx="8">
                  <c:v>0.3229479643269409</c:v>
                </c:pt>
                <c:pt idx="9">
                  <c:v>0.18285423394799405</c:v>
                </c:pt>
                <c:pt idx="10">
                  <c:v>4.1821202465198081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4.6013922667824869E-3</c:v>
                </c:pt>
                <c:pt idx="3">
                  <c:v>4.0408663418901166E-3</c:v>
                </c:pt>
                <c:pt idx="5">
                  <c:v>1.5302096242626191E-3</c:v>
                </c:pt>
                <c:pt idx="8">
                  <c:v>5.0985998948984614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8.5517319788469048E-2</c:v>
                </c:pt>
                <c:pt idx="3">
                  <c:v>7.5099891325612428E-2</c:v>
                </c:pt>
                <c:pt idx="5">
                  <c:v>2.8439093690432658E-2</c:v>
                </c:pt>
                <c:pt idx="8">
                  <c:v>9.4755564569076856E-2</c:v>
                </c:pt>
                <c:pt idx="9">
                  <c:v>5.9829808329517949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3.5548079169897273E-2</c:v>
                </c:pt>
                <c:pt idx="3">
                  <c:v>4.2169192354775738E-2</c:v>
                </c:pt>
                <c:pt idx="5">
                  <c:v>0.23572846538239825</c:v>
                </c:pt>
                <c:pt idx="6">
                  <c:v>7.586484225238363E-2</c:v>
                </c:pt>
                <c:pt idx="7">
                  <c:v>0.46044242473977526</c:v>
                </c:pt>
                <c:pt idx="8">
                  <c:v>9.2131775395986173E-2</c:v>
                </c:pt>
                <c:pt idx="9">
                  <c:v>5.260292959458459E-2</c:v>
                </c:pt>
                <c:pt idx="10">
                  <c:v>5.4946735034043289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4.7204326300153358E-2</c:v>
                </c:pt>
                <c:pt idx="3">
                  <c:v>4.8559042899347739E-2</c:v>
                </c:pt>
                <c:pt idx="5">
                  <c:v>0.19112282846997233</c:v>
                </c:pt>
                <c:pt idx="6">
                  <c:v>5.5063914531849847E-2</c:v>
                </c:pt>
                <c:pt idx="7">
                  <c:v>0.52433907962076154</c:v>
                </c:pt>
                <c:pt idx="8">
                  <c:v>7.6815138517167758E-2</c:v>
                </c:pt>
                <c:pt idx="9">
                  <c:v>5.686107770856165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2.0326372359036796E-2</c:v>
                </c:pt>
                <c:pt idx="3">
                  <c:v>7.2599537803512179E-2</c:v>
                </c:pt>
                <c:pt idx="5">
                  <c:v>0.29716697751487675</c:v>
                </c:pt>
                <c:pt idx="7">
                  <c:v>9.1082501661220183E-4</c:v>
                </c:pt>
                <c:pt idx="8">
                  <c:v>0.55832536105652275</c:v>
                </c:pt>
                <c:pt idx="9">
                  <c:v>4.9985573358558646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3.0132416561429879E-3</c:v>
                </c:pt>
                <c:pt idx="1">
                  <c:v>7.082202882835808E-3</c:v>
                </c:pt>
                <c:pt idx="2">
                  <c:v>2.0858669724864447E-3</c:v>
                </c:pt>
                <c:pt idx="3">
                  <c:v>5.5909517785081346E-2</c:v>
                </c:pt>
                <c:pt idx="4">
                  <c:v>3.9969470512073363E-2</c:v>
                </c:pt>
                <c:pt idx="5">
                  <c:v>8.5141350822573972E-2</c:v>
                </c:pt>
                <c:pt idx="6">
                  <c:v>4.1671457423834685E-2</c:v>
                </c:pt>
                <c:pt idx="7">
                  <c:v>0.20000586803223158</c:v>
                </c:pt>
                <c:pt idx="8">
                  <c:v>0.18311481008226255</c:v>
                </c:pt>
                <c:pt idx="9">
                  <c:v>0.17550032995913264</c:v>
                </c:pt>
                <c:pt idx="10">
                  <c:v>0.2065058838713446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2.4975365598015995E-3</c:v>
                </c:pt>
                <c:pt idx="1">
                  <c:v>1.6379025521232942E-3</c:v>
                </c:pt>
                <c:pt idx="2">
                  <c:v>1.0219016343389E-3</c:v>
                </c:pt>
                <c:pt idx="3">
                  <c:v>5.4936688578910986E-2</c:v>
                </c:pt>
                <c:pt idx="4">
                  <c:v>3.1573981954397423E-2</c:v>
                </c:pt>
                <c:pt idx="5">
                  <c:v>9.5925986929385865E-2</c:v>
                </c:pt>
                <c:pt idx="6">
                  <c:v>3.3815989888744687E-2</c:v>
                </c:pt>
                <c:pt idx="7">
                  <c:v>0.1653838562857024</c:v>
                </c:pt>
                <c:pt idx="8">
                  <c:v>0.2663326767582046</c:v>
                </c:pt>
                <c:pt idx="9">
                  <c:v>0.15851082870636651</c:v>
                </c:pt>
                <c:pt idx="10">
                  <c:v>0.1883626501520236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7.2323910850997956E-3</c:v>
                </c:pt>
                <c:pt idx="1">
                  <c:v>3.0029374209639585E-2</c:v>
                </c:pt>
                <c:pt idx="2">
                  <c:v>1.3260072235208328E-2</c:v>
                </c:pt>
                <c:pt idx="3">
                  <c:v>4.1537920103246036E-2</c:v>
                </c:pt>
                <c:pt idx="4">
                  <c:v>7.5562270831831257E-2</c:v>
                </c:pt>
                <c:pt idx="5">
                  <c:v>6.1540284095095411E-2</c:v>
                </c:pt>
                <c:pt idx="6">
                  <c:v>0.1831223576647234</c:v>
                </c:pt>
                <c:pt idx="7">
                  <c:v>0.26794164527376069</c:v>
                </c:pt>
                <c:pt idx="8">
                  <c:v>0.12529305571168425</c:v>
                </c:pt>
                <c:pt idx="9">
                  <c:v>0.11952001296739617</c:v>
                </c:pt>
                <c:pt idx="10">
                  <c:v>7.3834885075368853E-2</c:v>
                </c:pt>
                <c:pt idx="11">
                  <c:v>9.7924674007412852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5.0815776284355207E-4</c:v>
                </c:pt>
                <c:pt idx="3">
                  <c:v>1.017348439062198E-3</c:v>
                </c:pt>
                <c:pt idx="4">
                  <c:v>8.2295467613508672E-2</c:v>
                </c:pt>
                <c:pt idx="6">
                  <c:v>0.1301013877493945</c:v>
                </c:pt>
                <c:pt idx="7">
                  <c:v>0.37290792522911043</c:v>
                </c:pt>
                <c:pt idx="8">
                  <c:v>1.3576844917299524E-2</c:v>
                </c:pt>
                <c:pt idx="9">
                  <c:v>0.39240664061433561</c:v>
                </c:pt>
                <c:pt idx="10">
                  <c:v>6.2662758431142069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6797037320037875E-2</c:v>
                </c:pt>
                <c:pt idx="1">
                  <c:v>4.5156781419718517E-2</c:v>
                </c:pt>
                <c:pt idx="2">
                  <c:v>2.1124239287706442E-2</c:v>
                </c:pt>
                <c:pt idx="3">
                  <c:v>0.13820454776849406</c:v>
                </c:pt>
                <c:pt idx="4">
                  <c:v>7.4020895482192761E-2</c:v>
                </c:pt>
                <c:pt idx="5">
                  <c:v>0.34672443505720385</c:v>
                </c:pt>
                <c:pt idx="6">
                  <c:v>0.14139907863558362</c:v>
                </c:pt>
                <c:pt idx="7">
                  <c:v>0.13967776059534132</c:v>
                </c:pt>
                <c:pt idx="8">
                  <c:v>6.7398654515112802E-2</c:v>
                </c:pt>
                <c:pt idx="9">
                  <c:v>8.2218136030333313E-3</c:v>
                </c:pt>
                <c:pt idx="10">
                  <c:v>1.2747563155753136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5130936481089647E-2</c:v>
                </c:pt>
                <c:pt idx="1">
                  <c:v>3.2843822305474016E-2</c:v>
                </c:pt>
                <c:pt idx="2">
                  <c:v>1.304152019254488E-2</c:v>
                </c:pt>
                <c:pt idx="3">
                  <c:v>6.3976002158169454E-2</c:v>
                </c:pt>
                <c:pt idx="4">
                  <c:v>0.12726869045828998</c:v>
                </c:pt>
                <c:pt idx="5">
                  <c:v>0.14107703973711477</c:v>
                </c:pt>
                <c:pt idx="6">
                  <c:v>0.36236006541336901</c:v>
                </c:pt>
                <c:pt idx="7">
                  <c:v>7.1788863020120317E-2</c:v>
                </c:pt>
                <c:pt idx="8">
                  <c:v>0.1607814740415261</c:v>
                </c:pt>
                <c:pt idx="9">
                  <c:v>1.172286408217030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2.9262381599003958E-2</c:v>
                </c:pt>
                <c:pt idx="1">
                  <c:v>6.7529882543703984E-2</c:v>
                </c:pt>
                <c:pt idx="4">
                  <c:v>0.22654494927316576</c:v>
                </c:pt>
                <c:pt idx="5">
                  <c:v>9.6450797587259059E-3</c:v>
                </c:pt>
                <c:pt idx="6">
                  <c:v>0.46446442441784896</c:v>
                </c:pt>
                <c:pt idx="7">
                  <c:v>0.18869362275035395</c:v>
                </c:pt>
                <c:pt idx="10">
                  <c:v>1.3835303638765041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1.9285822814956487E-3</c:v>
                </c:pt>
                <c:pt idx="3">
                  <c:v>4.9044700492439267E-2</c:v>
                </c:pt>
                <c:pt idx="4">
                  <c:v>2.2585485283414204E-2</c:v>
                </c:pt>
                <c:pt idx="5">
                  <c:v>0.1013458714656256</c:v>
                </c:pt>
                <c:pt idx="6">
                  <c:v>8.0784550457186646E-2</c:v>
                </c:pt>
                <c:pt idx="7">
                  <c:v>0.36238716688551564</c:v>
                </c:pt>
                <c:pt idx="8">
                  <c:v>0.2209832421338763</c:v>
                </c:pt>
                <c:pt idx="9">
                  <c:v>8.8186583552568476E-2</c:v>
                </c:pt>
                <c:pt idx="10">
                  <c:v>6.8646178053328483E-2</c:v>
                </c:pt>
                <c:pt idx="11">
                  <c:v>3.7716438319832274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2.1341767559313139E-3</c:v>
                </c:pt>
                <c:pt idx="7">
                  <c:v>6.9532284664502939E-3</c:v>
                </c:pt>
                <c:pt idx="10">
                  <c:v>7.5441061387540457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2.1026893100549375E-3</c:v>
                </c:pt>
                <c:pt idx="3">
                  <c:v>4.916947487787493E-2</c:v>
                </c:pt>
                <c:pt idx="4">
                  <c:v>4.3007935502443258E-2</c:v>
                </c:pt>
                <c:pt idx="5">
                  <c:v>8.8371883951689795E-2</c:v>
                </c:pt>
                <c:pt idx="6">
                  <c:v>5.5873027350611768E-2</c:v>
                </c:pt>
                <c:pt idx="7">
                  <c:v>0.20540382508378988</c:v>
                </c:pt>
                <c:pt idx="8">
                  <c:v>0.36146768532776002</c:v>
                </c:pt>
                <c:pt idx="9">
                  <c:v>8.7438935946093255E-2</c:v>
                </c:pt>
                <c:pt idx="10">
                  <c:v>0.1062833088204093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3.5553742015450741E-3</c:v>
                </c:pt>
                <c:pt idx="4">
                  <c:v>0.10056376439324646</c:v>
                </c:pt>
                <c:pt idx="6">
                  <c:v>0.20390060448269487</c:v>
                </c:pt>
                <c:pt idx="7">
                  <c:v>0.5480297958742949</c:v>
                </c:pt>
                <c:pt idx="8">
                  <c:v>1.1403440221557173E-2</c:v>
                </c:pt>
                <c:pt idx="10">
                  <c:v>0.10372738096186646</c:v>
                </c:pt>
                <c:pt idx="11">
                  <c:v>2.8702359852052911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5.3856141960207543E-4</c:v>
                </c:pt>
                <c:pt idx="1">
                  <c:v>1.5620317363869789E-3</c:v>
                </c:pt>
                <c:pt idx="3">
                  <c:v>5.5489759458103149E-3</c:v>
                </c:pt>
                <c:pt idx="5">
                  <c:v>3.3668270305480336E-2</c:v>
                </c:pt>
                <c:pt idx="7">
                  <c:v>0.29686173713080344</c:v>
                </c:pt>
                <c:pt idx="8">
                  <c:v>0.59156903232339997</c:v>
                </c:pt>
                <c:pt idx="9">
                  <c:v>9.3999366473370392E-3</c:v>
                </c:pt>
                <c:pt idx="10">
                  <c:v>6.084512511267765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2450492937243368E-3</c:v>
                </c:pt>
                <c:pt idx="1">
                  <c:v>2.2320532191512647E-3</c:v>
                </c:pt>
                <c:pt idx="3">
                  <c:v>5.5221708815645486E-3</c:v>
                </c:pt>
                <c:pt idx="5">
                  <c:v>3.2054568203037939E-2</c:v>
                </c:pt>
                <c:pt idx="7">
                  <c:v>0.23745240670836387</c:v>
                </c:pt>
                <c:pt idx="8">
                  <c:v>0.60939570637605789</c:v>
                </c:pt>
                <c:pt idx="9">
                  <c:v>1.7274451092794681E-2</c:v>
                </c:pt>
                <c:pt idx="10">
                  <c:v>9.482359422530545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4.7239854391077266E-2</c:v>
                </c:pt>
                <c:pt idx="8">
                  <c:v>0.86683859195054513</c:v>
                </c:pt>
                <c:pt idx="9">
                  <c:v>8.5358669037621848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4.0810000882490144E-3</c:v>
                </c:pt>
                <c:pt idx="1">
                  <c:v>1.9057746725806689E-2</c:v>
                </c:pt>
                <c:pt idx="2">
                  <c:v>1.3061519103123722E-2</c:v>
                </c:pt>
                <c:pt idx="3">
                  <c:v>6.7854811076461852E-2</c:v>
                </c:pt>
                <c:pt idx="4">
                  <c:v>4.5626593872910418E-2</c:v>
                </c:pt>
                <c:pt idx="5">
                  <c:v>0.17594240996402155</c:v>
                </c:pt>
                <c:pt idx="6">
                  <c:v>5.9953586010787034E-2</c:v>
                </c:pt>
                <c:pt idx="7">
                  <c:v>0.15629945053556907</c:v>
                </c:pt>
                <c:pt idx="8">
                  <c:v>0.25184260675323467</c:v>
                </c:pt>
                <c:pt idx="9">
                  <c:v>8.5453909757794072E-2</c:v>
                </c:pt>
                <c:pt idx="10">
                  <c:v>0.12010973641082048</c:v>
                </c:pt>
                <c:pt idx="11">
                  <c:v>5.863965622843611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4671222901626161E-3</c:v>
                </c:pt>
                <c:pt idx="2">
                  <c:v>0.10369318788070768</c:v>
                </c:pt>
                <c:pt idx="3">
                  <c:v>1.3292401962814945E-2</c:v>
                </c:pt>
                <c:pt idx="5">
                  <c:v>0.39927586436066009</c:v>
                </c:pt>
                <c:pt idx="7">
                  <c:v>9.5854667596162132E-4</c:v>
                </c:pt>
                <c:pt idx="8">
                  <c:v>0.46448408106322292</c:v>
                </c:pt>
                <c:pt idx="9">
                  <c:v>1.678159650636528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467138887234618E-3</c:v>
                </c:pt>
                <c:pt idx="2">
                  <c:v>0.10371095193438469</c:v>
                </c:pt>
                <c:pt idx="3">
                  <c:v>1.3285795569918612E-2</c:v>
                </c:pt>
                <c:pt idx="5">
                  <c:v>0.39936557319765603</c:v>
                </c:pt>
                <c:pt idx="7">
                  <c:v>9.4392691678762779E-4</c:v>
                </c:pt>
                <c:pt idx="8">
                  <c:v>0.46443195410199767</c:v>
                </c:pt>
                <c:pt idx="9">
                  <c:v>1.6750747471297605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8.2098172766123009E-2</c:v>
                </c:pt>
                <c:pt idx="2">
                  <c:v>2.766692599215401E-2</c:v>
                </c:pt>
                <c:pt idx="3">
                  <c:v>0.12152540134740045</c:v>
                </c:pt>
                <c:pt idx="4">
                  <c:v>8.807155321736132E-2</c:v>
                </c:pt>
                <c:pt idx="5">
                  <c:v>0.16399541584917099</c:v>
                </c:pt>
                <c:pt idx="6">
                  <c:v>3.8970122847494021E-3</c:v>
                </c:pt>
                <c:pt idx="7">
                  <c:v>6.62353207000244E-2</c:v>
                </c:pt>
                <c:pt idx="8">
                  <c:v>0.26606437773631458</c:v>
                </c:pt>
                <c:pt idx="9">
                  <c:v>0.16673327506438138</c:v>
                </c:pt>
                <c:pt idx="10">
                  <c:v>1.322740057405335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5.4175372255002754E-2</c:v>
                </c:pt>
                <c:pt idx="2">
                  <c:v>9.2660402847081449E-2</c:v>
                </c:pt>
                <c:pt idx="3">
                  <c:v>0.16479500394095559</c:v>
                </c:pt>
                <c:pt idx="4">
                  <c:v>7.0594690426060286E-2</c:v>
                </c:pt>
                <c:pt idx="5">
                  <c:v>0.10830141278533575</c:v>
                </c:pt>
                <c:pt idx="6">
                  <c:v>8.9757687778646202E-3</c:v>
                </c:pt>
                <c:pt idx="7">
                  <c:v>4.2644153977669061E-2</c:v>
                </c:pt>
                <c:pt idx="8">
                  <c:v>0.22660645577361263</c:v>
                </c:pt>
                <c:pt idx="9">
                  <c:v>0.20492307455652828</c:v>
                </c:pt>
                <c:pt idx="10">
                  <c:v>2.5445783256084872E-2</c:v>
                </c:pt>
                <c:pt idx="11">
                  <c:v>8.778814038047288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2.3569573067529505E-3</c:v>
                </c:pt>
                <c:pt idx="7">
                  <c:v>8.724749571436376E-3</c:v>
                </c:pt>
                <c:pt idx="9">
                  <c:v>6.7485146614968262E-4</c:v>
                </c:pt>
                <c:pt idx="10">
                  <c:v>1.121692852712513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8.5517319788469048E-2</c:v>
                </c:pt>
                <c:pt idx="3">
                  <c:v>0.17813299245834574</c:v>
                </c:pt>
                <c:pt idx="5">
                  <c:v>0.21442455324174367</c:v>
                </c:pt>
                <c:pt idx="7">
                  <c:v>1.1509498510208325E-2</c:v>
                </c:pt>
                <c:pt idx="8">
                  <c:v>0.3229479643269409</c:v>
                </c:pt>
                <c:pt idx="9">
                  <c:v>0.18285423394799405</c:v>
                </c:pt>
                <c:pt idx="10">
                  <c:v>4.1821202465198081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3.5548079169897273E-2</c:v>
                </c:pt>
                <c:pt idx="3">
                  <c:v>4.2169192354775738E-2</c:v>
                </c:pt>
                <c:pt idx="5">
                  <c:v>0.23572846538239825</c:v>
                </c:pt>
                <c:pt idx="6">
                  <c:v>7.586484225238363E-2</c:v>
                </c:pt>
                <c:pt idx="7">
                  <c:v>0.46044242473977526</c:v>
                </c:pt>
                <c:pt idx="8">
                  <c:v>9.2131775395986173E-2</c:v>
                </c:pt>
                <c:pt idx="9">
                  <c:v>5.260292959458459E-2</c:v>
                </c:pt>
                <c:pt idx="10">
                  <c:v>5.4946735034043289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6">
                  <c:v>1.878060916134092E-2</c:v>
                </c:pt>
                <c:pt idx="7">
                  <c:v>6.0194721989301196E-2</c:v>
                </c:pt>
                <c:pt idx="10">
                  <c:v>1.428051507679771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4.7204326300153358E-2</c:v>
                </c:pt>
                <c:pt idx="3">
                  <c:v>4.8559042899347739E-2</c:v>
                </c:pt>
                <c:pt idx="5">
                  <c:v>0.19112282846997233</c:v>
                </c:pt>
                <c:pt idx="6">
                  <c:v>5.5063914531849847E-2</c:v>
                </c:pt>
                <c:pt idx="7">
                  <c:v>0.52433907962076154</c:v>
                </c:pt>
                <c:pt idx="8">
                  <c:v>7.6815138517167758E-2</c:v>
                </c:pt>
                <c:pt idx="9">
                  <c:v>5.686107770856165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6">
                  <c:v>1.852628303944447E-2</c:v>
                </c:pt>
                <c:pt idx="7">
                  <c:v>6.857874750025944E-2</c:v>
                </c:pt>
                <c:pt idx="10">
                  <c:v>1.525140965576692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2.0326372359036796E-2</c:v>
                </c:pt>
                <c:pt idx="3">
                  <c:v>7.2599537803512179E-2</c:v>
                </c:pt>
                <c:pt idx="5">
                  <c:v>0.29716697751487675</c:v>
                </c:pt>
                <c:pt idx="7">
                  <c:v>9.1082501661220183E-4</c:v>
                </c:pt>
                <c:pt idx="8">
                  <c:v>0.55832536105652275</c:v>
                </c:pt>
                <c:pt idx="9">
                  <c:v>4.9985573358558646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6">
                  <c:v>3.4081454224107403E-2</c:v>
                </c:pt>
                <c:pt idx="7">
                  <c:v>7.8557783458637495E-2</c:v>
                </c:pt>
                <c:pt idx="10">
                  <c:v>2.2139668694685408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3.0132416561429879E-3</c:v>
                </c:pt>
                <c:pt idx="1">
                  <c:v>7.082202882835808E-3</c:v>
                </c:pt>
                <c:pt idx="2">
                  <c:v>2.0858669724864447E-3</c:v>
                </c:pt>
                <c:pt idx="3">
                  <c:v>5.5909517785081346E-2</c:v>
                </c:pt>
                <c:pt idx="4">
                  <c:v>3.9969470512073363E-2</c:v>
                </c:pt>
                <c:pt idx="5">
                  <c:v>8.5141350822573972E-2</c:v>
                </c:pt>
                <c:pt idx="6">
                  <c:v>4.1671457423834685E-2</c:v>
                </c:pt>
                <c:pt idx="7">
                  <c:v>0.20000586803223158</c:v>
                </c:pt>
                <c:pt idx="8">
                  <c:v>0.18311481008226255</c:v>
                </c:pt>
                <c:pt idx="9">
                  <c:v>0.17550032995913264</c:v>
                </c:pt>
                <c:pt idx="10">
                  <c:v>0.2065058838713446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6425597825452717E-2</c:v>
                </c:pt>
                <c:pt idx="2">
                  <c:v>7.2109019127578972E-2</c:v>
                </c:pt>
                <c:pt idx="3">
                  <c:v>0.12402220207660479</c:v>
                </c:pt>
                <c:pt idx="4">
                  <c:v>5.0303297755392837E-4</c:v>
                </c:pt>
                <c:pt idx="5">
                  <c:v>0.22171959768659777</c:v>
                </c:pt>
                <c:pt idx="6">
                  <c:v>2.9994597498183262E-3</c:v>
                </c:pt>
                <c:pt idx="7">
                  <c:v>5.5040210686961785E-3</c:v>
                </c:pt>
                <c:pt idx="8">
                  <c:v>0.38358536672772303</c:v>
                </c:pt>
                <c:pt idx="9">
                  <c:v>0.16762790765090618</c:v>
                </c:pt>
                <c:pt idx="10">
                  <c:v>1.6054128463587373E-3</c:v>
                </c:pt>
                <c:pt idx="11">
                  <c:v>3.8292083048375048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9">
                  <c:v>6.3005853415440221E-4</c:v>
                </c:pt>
                <c:pt idx="10">
                  <c:v>9.8459932187546974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2.4975365598015995E-3</c:v>
                </c:pt>
                <c:pt idx="1">
                  <c:v>1.6379025521232942E-3</c:v>
                </c:pt>
                <c:pt idx="2">
                  <c:v>1.0219016343389E-3</c:v>
                </c:pt>
                <c:pt idx="3">
                  <c:v>5.4936688578910986E-2</c:v>
                </c:pt>
                <c:pt idx="4">
                  <c:v>3.1573981954397423E-2</c:v>
                </c:pt>
                <c:pt idx="5">
                  <c:v>9.5925986929385865E-2</c:v>
                </c:pt>
                <c:pt idx="6">
                  <c:v>3.3815989888744687E-2</c:v>
                </c:pt>
                <c:pt idx="7">
                  <c:v>0.1653838562857024</c:v>
                </c:pt>
                <c:pt idx="8">
                  <c:v>0.2663326767582046</c:v>
                </c:pt>
                <c:pt idx="9">
                  <c:v>0.15851082870636651</c:v>
                </c:pt>
                <c:pt idx="10">
                  <c:v>0.1883626501520236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9">
                  <c:v>1.313980858004695E-3</c:v>
                </c:pt>
                <c:pt idx="10">
                  <c:v>1.4830640004605952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5.0815776284355207E-4</c:v>
                </c:pt>
                <c:pt idx="3">
                  <c:v>1.017348439062198E-3</c:v>
                </c:pt>
                <c:pt idx="4">
                  <c:v>8.2295467613508672E-2</c:v>
                </c:pt>
                <c:pt idx="6">
                  <c:v>0.1301013877493945</c:v>
                </c:pt>
                <c:pt idx="7">
                  <c:v>0.37290792522911043</c:v>
                </c:pt>
                <c:pt idx="8">
                  <c:v>1.3576844917299524E-2</c:v>
                </c:pt>
                <c:pt idx="9">
                  <c:v>0.39240664061433561</c:v>
                </c:pt>
                <c:pt idx="10">
                  <c:v>6.2662758431142069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9">
                  <c:v>8.1934963036749651E-4</c:v>
                </c:pt>
                <c:pt idx="10">
                  <c:v>1.2931505572932741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6797037320037875E-2</c:v>
                </c:pt>
                <c:pt idx="1">
                  <c:v>4.5156781419718517E-2</c:v>
                </c:pt>
                <c:pt idx="2">
                  <c:v>2.1124239287706442E-2</c:v>
                </c:pt>
                <c:pt idx="3">
                  <c:v>0.13820454776849406</c:v>
                </c:pt>
                <c:pt idx="4">
                  <c:v>7.4020895482192761E-2</c:v>
                </c:pt>
                <c:pt idx="5">
                  <c:v>0.34672443505720385</c:v>
                </c:pt>
                <c:pt idx="6">
                  <c:v>0.14139907863558362</c:v>
                </c:pt>
                <c:pt idx="7">
                  <c:v>0.13967776059534132</c:v>
                </c:pt>
                <c:pt idx="8">
                  <c:v>6.7398654515112802E-2</c:v>
                </c:pt>
                <c:pt idx="9">
                  <c:v>8.2218136030333313E-3</c:v>
                </c:pt>
                <c:pt idx="10">
                  <c:v>1.2747563155753136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5130936481089647E-2</c:v>
                </c:pt>
                <c:pt idx="1">
                  <c:v>3.2843822305474016E-2</c:v>
                </c:pt>
                <c:pt idx="2">
                  <c:v>1.304152019254488E-2</c:v>
                </c:pt>
                <c:pt idx="3">
                  <c:v>6.3976002158169454E-2</c:v>
                </c:pt>
                <c:pt idx="4">
                  <c:v>0.12726869045828998</c:v>
                </c:pt>
                <c:pt idx="5">
                  <c:v>0.14107703973711477</c:v>
                </c:pt>
                <c:pt idx="6">
                  <c:v>0.36236006541336901</c:v>
                </c:pt>
                <c:pt idx="7">
                  <c:v>7.1788863020120317E-2</c:v>
                </c:pt>
                <c:pt idx="8">
                  <c:v>0.1607814740415261</c:v>
                </c:pt>
                <c:pt idx="9">
                  <c:v>1.172286408217030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2.9262381599003958E-2</c:v>
                </c:pt>
                <c:pt idx="1">
                  <c:v>6.7529882543703984E-2</c:v>
                </c:pt>
                <c:pt idx="4">
                  <c:v>0.22654494927316576</c:v>
                </c:pt>
                <c:pt idx="5">
                  <c:v>9.6450797587259059E-3</c:v>
                </c:pt>
                <c:pt idx="6">
                  <c:v>0.46446442441784896</c:v>
                </c:pt>
                <c:pt idx="7">
                  <c:v>0.18869362275035395</c:v>
                </c:pt>
                <c:pt idx="10">
                  <c:v>1.3835303638765041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6">
                  <c:v>2.4171011647571264E-3</c:v>
                </c:pt>
                <c:pt idx="7">
                  <c:v>6.049735615523741E-3</c:v>
                </c:pt>
                <c:pt idx="10">
                  <c:v>6.6843129195297002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1.9285822814956487E-3</c:v>
                </c:pt>
                <c:pt idx="3">
                  <c:v>4.9044700492439267E-2</c:v>
                </c:pt>
                <c:pt idx="4">
                  <c:v>2.2585485283414204E-2</c:v>
                </c:pt>
                <c:pt idx="5">
                  <c:v>0.1013458714656256</c:v>
                </c:pt>
                <c:pt idx="6">
                  <c:v>8.0784550457186646E-2</c:v>
                </c:pt>
                <c:pt idx="7">
                  <c:v>0.36238716688551564</c:v>
                </c:pt>
                <c:pt idx="8">
                  <c:v>0.2209832421338763</c:v>
                </c:pt>
                <c:pt idx="9">
                  <c:v>8.8186583552568476E-2</c:v>
                </c:pt>
                <c:pt idx="10">
                  <c:v>6.8646178053328483E-2</c:v>
                </c:pt>
                <c:pt idx="11">
                  <c:v>3.7716438319832274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2.1026893100549375E-3</c:v>
                </c:pt>
                <c:pt idx="3">
                  <c:v>4.916947487787493E-2</c:v>
                </c:pt>
                <c:pt idx="4">
                  <c:v>4.3007935502443258E-2</c:v>
                </c:pt>
                <c:pt idx="5">
                  <c:v>8.8371883951689795E-2</c:v>
                </c:pt>
                <c:pt idx="6">
                  <c:v>5.5873027350611768E-2</c:v>
                </c:pt>
                <c:pt idx="7">
                  <c:v>0.20540382508378988</c:v>
                </c:pt>
                <c:pt idx="8">
                  <c:v>0.36146768532776002</c:v>
                </c:pt>
                <c:pt idx="9">
                  <c:v>8.7438935946093255E-2</c:v>
                </c:pt>
                <c:pt idx="10">
                  <c:v>0.1062833088204093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3.5553742015450741E-3</c:v>
                </c:pt>
                <c:pt idx="4">
                  <c:v>0.10056376439324646</c:v>
                </c:pt>
                <c:pt idx="6">
                  <c:v>0.20390060448269487</c:v>
                </c:pt>
                <c:pt idx="7">
                  <c:v>0.5480297958742949</c:v>
                </c:pt>
                <c:pt idx="8">
                  <c:v>1.1403440221557173E-2</c:v>
                </c:pt>
                <c:pt idx="10">
                  <c:v>0.10372738096186646</c:v>
                </c:pt>
                <c:pt idx="11">
                  <c:v>2.8702359852052911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5.3856141960207543E-4</c:v>
                </c:pt>
                <c:pt idx="1">
                  <c:v>1.5620317363869789E-3</c:v>
                </c:pt>
                <c:pt idx="3">
                  <c:v>5.5489759458103149E-3</c:v>
                </c:pt>
                <c:pt idx="5">
                  <c:v>3.3668270305480336E-2</c:v>
                </c:pt>
                <c:pt idx="7">
                  <c:v>0.29686173713080344</c:v>
                </c:pt>
                <c:pt idx="8">
                  <c:v>0.59156903232339997</c:v>
                </c:pt>
                <c:pt idx="9">
                  <c:v>9.3999366473370392E-3</c:v>
                </c:pt>
                <c:pt idx="10">
                  <c:v>6.084512511267765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2450492937243368E-3</c:v>
                </c:pt>
                <c:pt idx="1">
                  <c:v>2.2320532191512647E-3</c:v>
                </c:pt>
                <c:pt idx="3">
                  <c:v>5.5221708815645486E-3</c:v>
                </c:pt>
                <c:pt idx="5">
                  <c:v>3.2054568203037939E-2</c:v>
                </c:pt>
                <c:pt idx="7">
                  <c:v>0.23745240670836387</c:v>
                </c:pt>
                <c:pt idx="8">
                  <c:v>0.60939570637605789</c:v>
                </c:pt>
                <c:pt idx="9">
                  <c:v>1.7274451092794681E-2</c:v>
                </c:pt>
                <c:pt idx="10">
                  <c:v>9.482359422530545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4.9161034387940859E-3</c:v>
                </c:pt>
                <c:pt idx="1">
                  <c:v>1.9310351879507848E-2</c:v>
                </c:pt>
                <c:pt idx="2">
                  <c:v>1.5668853518267908E-2</c:v>
                </c:pt>
                <c:pt idx="3">
                  <c:v>7.1563731574112333E-2</c:v>
                </c:pt>
                <c:pt idx="4">
                  <c:v>4.8996064231483491E-2</c:v>
                </c:pt>
                <c:pt idx="5">
                  <c:v>0.17415812264811881</c:v>
                </c:pt>
                <c:pt idx="6">
                  <c:v>6.9749540147984693E-2</c:v>
                </c:pt>
                <c:pt idx="7">
                  <c:v>0.14760341895829021</c:v>
                </c:pt>
                <c:pt idx="8">
                  <c:v>0.25974625022779813</c:v>
                </c:pt>
                <c:pt idx="9">
                  <c:v>8.4821602273511043E-2</c:v>
                </c:pt>
                <c:pt idx="10">
                  <c:v>0.10281938118700142</c:v>
                </c:pt>
                <c:pt idx="11">
                  <c:v>6.3486379337584771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4.7239854391077266E-2</c:v>
                </c:pt>
                <c:pt idx="8">
                  <c:v>0.86683859195054513</c:v>
                </c:pt>
                <c:pt idx="9">
                  <c:v>8.5358669037621848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4671222901626161E-3</c:v>
                </c:pt>
                <c:pt idx="2">
                  <c:v>0.10369318788070768</c:v>
                </c:pt>
                <c:pt idx="3">
                  <c:v>1.3292401962814945E-2</c:v>
                </c:pt>
                <c:pt idx="5">
                  <c:v>0.39927586436066009</c:v>
                </c:pt>
                <c:pt idx="7">
                  <c:v>9.5854667596162132E-4</c:v>
                </c:pt>
                <c:pt idx="8">
                  <c:v>0.46448408106322292</c:v>
                </c:pt>
                <c:pt idx="9">
                  <c:v>1.678159650636528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467138887234618E-3</c:v>
                </c:pt>
                <c:pt idx="2">
                  <c:v>0.10371095193438469</c:v>
                </c:pt>
                <c:pt idx="3">
                  <c:v>1.3285795569918612E-2</c:v>
                </c:pt>
                <c:pt idx="5">
                  <c:v>0.39936557319765603</c:v>
                </c:pt>
                <c:pt idx="7">
                  <c:v>9.4392691678762779E-4</c:v>
                </c:pt>
                <c:pt idx="8">
                  <c:v>0.46443195410199767</c:v>
                </c:pt>
                <c:pt idx="9">
                  <c:v>1.6750747471297605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4">
                  <c:v>4.5491540256818513E-3</c:v>
                </c:pt>
                <c:pt idx="6">
                  <c:v>2.3582829491734956E-3</c:v>
                </c:pt>
                <c:pt idx="7">
                  <c:v>8.1264471196392657E-3</c:v>
                </c:pt>
                <c:pt idx="9">
                  <c:v>4.0131929822544588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4">
                  <c:v>5.3765125961972287E-3</c:v>
                </c:pt>
                <c:pt idx="6">
                  <c:v>2.787185905345995E-3</c:v>
                </c:pt>
                <c:pt idx="7">
                  <c:v>9.604411073885856E-3</c:v>
                </c:pt>
                <c:pt idx="9">
                  <c:v>4.7430758550382011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4.2878102429301417E-3</c:v>
                </c:pt>
                <c:pt idx="1">
                  <c:v>2.0023523609660875E-2</c:v>
                </c:pt>
                <c:pt idx="2">
                  <c:v>1.3723429107454667E-2</c:v>
                </c:pt>
                <c:pt idx="3">
                  <c:v>7.1293444664093722E-2</c:v>
                </c:pt>
                <c:pt idx="4">
                  <c:v>4.7938782731616891E-2</c:v>
                </c:pt>
                <c:pt idx="5">
                  <c:v>0.1656881657217858</c:v>
                </c:pt>
                <c:pt idx="6">
                  <c:v>5.9864438195894244E-2</c:v>
                </c:pt>
                <c:pt idx="7">
                  <c:v>0.16391615246101154</c:v>
                </c:pt>
                <c:pt idx="8">
                  <c:v>0.26091603865744672</c:v>
                </c:pt>
                <c:pt idx="9">
                  <c:v>8.6862495206883369E-2</c:v>
                </c:pt>
                <c:pt idx="10">
                  <c:v>0.1052816373234158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4">
                  <c:v>8.5349158368287267E-3</c:v>
                </c:pt>
                <c:pt idx="6">
                  <c:v>2.0579282678446667E-3</c:v>
                </c:pt>
                <c:pt idx="7">
                  <c:v>9.3310180115548213E-3</c:v>
                </c:pt>
                <c:pt idx="10">
                  <c:v>6.3578705873019266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7.1436449174607335E-3</c:v>
                </c:pt>
                <c:pt idx="2">
                  <c:v>2.9401906875188205E-2</c:v>
                </c:pt>
                <c:pt idx="3">
                  <c:v>0.12607359527604595</c:v>
                </c:pt>
                <c:pt idx="5">
                  <c:v>0.25213010765919697</c:v>
                </c:pt>
                <c:pt idx="6">
                  <c:v>2.4578091213436752E-3</c:v>
                </c:pt>
                <c:pt idx="7">
                  <c:v>8.5521297241422135E-3</c:v>
                </c:pt>
                <c:pt idx="8">
                  <c:v>0.39132364067278441</c:v>
                </c:pt>
                <c:pt idx="9">
                  <c:v>0.17575172879192341</c:v>
                </c:pt>
                <c:pt idx="10">
                  <c:v>2.583863736266491E-3</c:v>
                </c:pt>
                <c:pt idx="11">
                  <c:v>4.2531055920174282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4">
                  <c:v>6.6637484493364783E-3</c:v>
                </c:pt>
                <c:pt idx="6">
                  <c:v>4.5541807982660476E-3</c:v>
                </c:pt>
                <c:pt idx="7">
                  <c:v>1.0225373496236092E-2</c:v>
                </c:pt>
                <c:pt idx="10">
                  <c:v>5.8514974288348736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0.41578319720218693</c:v>
                </c:pt>
                <c:pt idx="6">
                  <c:v>7.0101742146927604E-2</c:v>
                </c:pt>
                <c:pt idx="7">
                  <c:v>2.1967721720985125E-2</c:v>
                </c:pt>
                <c:pt idx="9">
                  <c:v>5.2986577548062776E-2</c:v>
                </c:pt>
                <c:pt idx="10">
                  <c:v>0.43453376004045885</c:v>
                </c:pt>
                <c:pt idx="11">
                  <c:v>3.4472484479923177E-3</c:v>
                </c:pt>
                <c:pt idx="12">
                  <c:v>5.4787495485867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0.41283338226409511</c:v>
                </c:pt>
                <c:pt idx="6">
                  <c:v>6.734849459052232E-2</c:v>
                </c:pt>
                <c:pt idx="7">
                  <c:v>1.6386580516175052E-2</c:v>
                </c:pt>
                <c:pt idx="9">
                  <c:v>5.4127289535044538E-2</c:v>
                </c:pt>
                <c:pt idx="10">
                  <c:v>0.4374843927045447</c:v>
                </c:pt>
                <c:pt idx="11">
                  <c:v>1.181986038961826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0.43462412004632861</c:v>
                </c:pt>
                <c:pt idx="6">
                  <c:v>6.1306354692189528E-2</c:v>
                </c:pt>
                <c:pt idx="7">
                  <c:v>2.5558696901447086E-2</c:v>
                </c:pt>
                <c:pt idx="9">
                  <c:v>4.8202240786807821E-3</c:v>
                </c:pt>
                <c:pt idx="10">
                  <c:v>0.4736906042813540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4.0810000882490144E-3</c:v>
                </c:pt>
                <c:pt idx="1">
                  <c:v>1.9057746725806689E-2</c:v>
                </c:pt>
                <c:pt idx="2">
                  <c:v>1.3061519103123722E-2</c:v>
                </c:pt>
                <c:pt idx="3">
                  <c:v>6.7854811076461852E-2</c:v>
                </c:pt>
                <c:pt idx="4">
                  <c:v>4.5626593872910418E-2</c:v>
                </c:pt>
                <c:pt idx="5">
                  <c:v>0.17594240996402155</c:v>
                </c:pt>
                <c:pt idx="6">
                  <c:v>5.9953586010787034E-2</c:v>
                </c:pt>
                <c:pt idx="7">
                  <c:v>0.15629945053556907</c:v>
                </c:pt>
                <c:pt idx="8">
                  <c:v>0.25184260675323467</c:v>
                </c:pt>
                <c:pt idx="9">
                  <c:v>8.5453909757794072E-2</c:v>
                </c:pt>
                <c:pt idx="10">
                  <c:v>0.12010973641082048</c:v>
                </c:pt>
                <c:pt idx="11">
                  <c:v>5.863965622843611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7403361837539186E-3</c:v>
                </c:pt>
                <c:pt idx="2">
                  <c:v>4.9156687201813688E-2</c:v>
                </c:pt>
                <c:pt idx="3">
                  <c:v>1.5322460926377875E-2</c:v>
                </c:pt>
                <c:pt idx="4">
                  <c:v>3.6291236589418288E-3</c:v>
                </c:pt>
                <c:pt idx="5">
                  <c:v>0.43551058204344495</c:v>
                </c:pt>
                <c:pt idx="8">
                  <c:v>0.47945154934812423</c:v>
                </c:pt>
                <c:pt idx="9">
                  <c:v>1.5189260637543566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7317326504995634E-3</c:v>
                </c:pt>
                <c:pt idx="2">
                  <c:v>4.9172102605190303E-2</c:v>
                </c:pt>
                <c:pt idx="3">
                  <c:v>1.5327587220883452E-2</c:v>
                </c:pt>
                <c:pt idx="4">
                  <c:v>3.6267341626128333E-3</c:v>
                </c:pt>
                <c:pt idx="5">
                  <c:v>0.43558655845726546</c:v>
                </c:pt>
                <c:pt idx="8">
                  <c:v>0.47936451378975942</c:v>
                </c:pt>
                <c:pt idx="9">
                  <c:v>1.5190771113788923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4.9161034387940859E-3</c:v>
                </c:pt>
                <c:pt idx="1">
                  <c:v>1.9310351879507848E-2</c:v>
                </c:pt>
                <c:pt idx="2">
                  <c:v>1.5668853518267908E-2</c:v>
                </c:pt>
                <c:pt idx="3">
                  <c:v>7.1563731574112333E-2</c:v>
                </c:pt>
                <c:pt idx="4">
                  <c:v>4.8996064231483491E-2</c:v>
                </c:pt>
                <c:pt idx="5">
                  <c:v>0.17415812264811881</c:v>
                </c:pt>
                <c:pt idx="6">
                  <c:v>6.9749540147984693E-2</c:v>
                </c:pt>
                <c:pt idx="7">
                  <c:v>0.14760341895829021</c:v>
                </c:pt>
                <c:pt idx="8">
                  <c:v>0.25974625022779813</c:v>
                </c:pt>
                <c:pt idx="9">
                  <c:v>8.4821602273511043E-2</c:v>
                </c:pt>
                <c:pt idx="10">
                  <c:v>0.10281938118700142</c:v>
                </c:pt>
                <c:pt idx="11">
                  <c:v>6.3486379337584771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8.6539089971091384E-3</c:v>
                </c:pt>
                <c:pt idx="3">
                  <c:v>6.1078173007492829E-3</c:v>
                </c:pt>
                <c:pt idx="5">
                  <c:v>4.5010617852531739E-3</c:v>
                </c:pt>
                <c:pt idx="8">
                  <c:v>6.9138912419667567E-3</c:v>
                </c:pt>
                <c:pt idx="9">
                  <c:v>1.3100738955763938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4.2878102429301417E-3</c:v>
                </c:pt>
                <c:pt idx="1">
                  <c:v>2.0023523609660875E-2</c:v>
                </c:pt>
                <c:pt idx="2">
                  <c:v>1.3723429107454667E-2</c:v>
                </c:pt>
                <c:pt idx="3">
                  <c:v>7.1293444664093722E-2</c:v>
                </c:pt>
                <c:pt idx="4">
                  <c:v>4.7938782731616891E-2</c:v>
                </c:pt>
                <c:pt idx="5">
                  <c:v>0.1656881657217858</c:v>
                </c:pt>
                <c:pt idx="6">
                  <c:v>5.9864438195894244E-2</c:v>
                </c:pt>
                <c:pt idx="7">
                  <c:v>0.16391615246101154</c:v>
                </c:pt>
                <c:pt idx="8">
                  <c:v>0.26091603865744672</c:v>
                </c:pt>
                <c:pt idx="9">
                  <c:v>8.6862495206883369E-2</c:v>
                </c:pt>
                <c:pt idx="10">
                  <c:v>0.1052816373234158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4">
                  <c:v>8.123258798760101E-3</c:v>
                </c:pt>
                <c:pt idx="6">
                  <c:v>1.9586700359540744E-3</c:v>
                </c:pt>
                <c:pt idx="7">
                  <c:v>8.8809632822244248E-3</c:v>
                </c:pt>
                <c:pt idx="10">
                  <c:v>6.0512170450257767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1.0098768442806877E-2</c:v>
                </c:pt>
                <c:pt idx="3">
                  <c:v>8.4792398808792319E-3</c:v>
                </c:pt>
                <c:pt idx="5">
                  <c:v>9.400241152511937E-4</c:v>
                </c:pt>
                <c:pt idx="8">
                  <c:v>9.1858747512901778E-3</c:v>
                </c:pt>
                <c:pt idx="9">
                  <c:v>1.6432383890484376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7.1436449174607335E-3</c:v>
                </c:pt>
                <c:pt idx="2">
                  <c:v>2.9401906875188205E-2</c:v>
                </c:pt>
                <c:pt idx="3">
                  <c:v>0.12607359527604595</c:v>
                </c:pt>
                <c:pt idx="5">
                  <c:v>0.25213010765919697</c:v>
                </c:pt>
                <c:pt idx="6">
                  <c:v>2.4578091213436752E-3</c:v>
                </c:pt>
                <c:pt idx="7">
                  <c:v>8.5521297241422135E-3</c:v>
                </c:pt>
                <c:pt idx="8">
                  <c:v>0.39132364067278441</c:v>
                </c:pt>
                <c:pt idx="9">
                  <c:v>0.17575172879192341</c:v>
                </c:pt>
                <c:pt idx="10">
                  <c:v>2.583863736266491E-3</c:v>
                </c:pt>
                <c:pt idx="11">
                  <c:v>4.2531055920174282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9.6013217915689383E-3</c:v>
                </c:pt>
                <c:pt idx="3">
                  <c:v>8.4317214911860186E-3</c:v>
                </c:pt>
                <c:pt idx="5">
                  <c:v>3.1929542536860422E-3</c:v>
                </c:pt>
                <c:pt idx="8">
                  <c:v>1.0638531109486055E-2</c:v>
                </c:pt>
                <c:pt idx="9">
                  <c:v>6.7172970799425169E-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0.41578319720218693</c:v>
                </c:pt>
                <c:pt idx="6">
                  <c:v>7.0101742146927604E-2</c:v>
                </c:pt>
                <c:pt idx="7">
                  <c:v>2.1967721720985125E-2</c:v>
                </c:pt>
                <c:pt idx="9">
                  <c:v>5.2986577548062776E-2</c:v>
                </c:pt>
                <c:pt idx="10">
                  <c:v>0.43453376004045885</c:v>
                </c:pt>
                <c:pt idx="11">
                  <c:v>3.4472484479923177E-3</c:v>
                </c:pt>
                <c:pt idx="12">
                  <c:v>5.4787495485867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0.41283338226409511</c:v>
                </c:pt>
                <c:pt idx="6">
                  <c:v>6.734849459052232E-2</c:v>
                </c:pt>
                <c:pt idx="7">
                  <c:v>1.6386580516175052E-2</c:v>
                </c:pt>
                <c:pt idx="9">
                  <c:v>5.4127289535044538E-2</c:v>
                </c:pt>
                <c:pt idx="10">
                  <c:v>0.4374843927045447</c:v>
                </c:pt>
                <c:pt idx="11">
                  <c:v>1.181986038961826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0.43462412004632861</c:v>
                </c:pt>
                <c:pt idx="6">
                  <c:v>6.1306354692189528E-2</c:v>
                </c:pt>
                <c:pt idx="7">
                  <c:v>2.5558696901447086E-2</c:v>
                </c:pt>
                <c:pt idx="9">
                  <c:v>4.8202240786807821E-3</c:v>
                </c:pt>
                <c:pt idx="10">
                  <c:v>0.4736906042813540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7403361837539186E-3</c:v>
                </c:pt>
                <c:pt idx="2">
                  <c:v>4.9156687201813688E-2</c:v>
                </c:pt>
                <c:pt idx="3">
                  <c:v>1.5322460926377875E-2</c:v>
                </c:pt>
                <c:pt idx="4">
                  <c:v>3.6291236589418288E-3</c:v>
                </c:pt>
                <c:pt idx="5">
                  <c:v>0.43551058204344495</c:v>
                </c:pt>
                <c:pt idx="8">
                  <c:v>0.47945154934812423</c:v>
                </c:pt>
                <c:pt idx="9">
                  <c:v>1.5189260637543566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6425597825452717E-2</c:v>
                </c:pt>
                <c:pt idx="2">
                  <c:v>7.2109019127578972E-2</c:v>
                </c:pt>
                <c:pt idx="3">
                  <c:v>0.12402220207660479</c:v>
                </c:pt>
                <c:pt idx="4">
                  <c:v>5.0303297755392837E-4</c:v>
                </c:pt>
                <c:pt idx="5">
                  <c:v>0.22171959768659777</c:v>
                </c:pt>
                <c:pt idx="6">
                  <c:v>2.9994597498183262E-3</c:v>
                </c:pt>
                <c:pt idx="7">
                  <c:v>5.5040210686961785E-3</c:v>
                </c:pt>
                <c:pt idx="8">
                  <c:v>0.38358536672772303</c:v>
                </c:pt>
                <c:pt idx="9">
                  <c:v>0.16762790765090618</c:v>
                </c:pt>
                <c:pt idx="10">
                  <c:v>1.6054128463587373E-3</c:v>
                </c:pt>
                <c:pt idx="11">
                  <c:v>3.8292083048375048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7317326504995634E-3</c:v>
                </c:pt>
                <c:pt idx="2">
                  <c:v>4.9172102605190303E-2</c:v>
                </c:pt>
                <c:pt idx="3">
                  <c:v>1.5327587220883452E-2</c:v>
                </c:pt>
                <c:pt idx="4">
                  <c:v>3.6267341626128333E-3</c:v>
                </c:pt>
                <c:pt idx="5">
                  <c:v>0.43558655845726546</c:v>
                </c:pt>
                <c:pt idx="8">
                  <c:v>0.47936451378975942</c:v>
                </c:pt>
                <c:pt idx="9">
                  <c:v>1.5190771113788923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4.9161034387940859E-3</c:v>
                </c:pt>
                <c:pt idx="1">
                  <c:v>1.9310351879507848E-2</c:v>
                </c:pt>
                <c:pt idx="2">
                  <c:v>1.5668853518267908E-2</c:v>
                </c:pt>
                <c:pt idx="3">
                  <c:v>7.1563731574112333E-2</c:v>
                </c:pt>
                <c:pt idx="4">
                  <c:v>4.8996064231483491E-2</c:v>
                </c:pt>
                <c:pt idx="5">
                  <c:v>0.17415812264811881</c:v>
                </c:pt>
                <c:pt idx="6">
                  <c:v>6.9749540147984693E-2</c:v>
                </c:pt>
                <c:pt idx="7">
                  <c:v>0.14760341895829021</c:v>
                </c:pt>
                <c:pt idx="8">
                  <c:v>0.25974625022779813</c:v>
                </c:pt>
                <c:pt idx="9">
                  <c:v>8.4821602273511043E-2</c:v>
                </c:pt>
                <c:pt idx="10">
                  <c:v>0.10281938118700142</c:v>
                </c:pt>
                <c:pt idx="11">
                  <c:v>6.3486379337584771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6">
                  <c:v>2.5223213252394106E-3</c:v>
                </c:pt>
                <c:pt idx="7">
                  <c:v>8.0844252513921928E-3</c:v>
                </c:pt>
                <c:pt idx="10">
                  <c:v>5.3256220851824482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4.2878102429301417E-3</c:v>
                </c:pt>
                <c:pt idx="1">
                  <c:v>2.0023523609660875E-2</c:v>
                </c:pt>
                <c:pt idx="2">
                  <c:v>1.3723429107454667E-2</c:v>
                </c:pt>
                <c:pt idx="3">
                  <c:v>7.1293444664093722E-2</c:v>
                </c:pt>
                <c:pt idx="4">
                  <c:v>4.7938782731616891E-2</c:v>
                </c:pt>
                <c:pt idx="5">
                  <c:v>0.1656881657217858</c:v>
                </c:pt>
                <c:pt idx="6">
                  <c:v>5.9864438195894244E-2</c:v>
                </c:pt>
                <c:pt idx="7">
                  <c:v>0.16391615246101154</c:v>
                </c:pt>
                <c:pt idx="8">
                  <c:v>0.26091603865744672</c:v>
                </c:pt>
                <c:pt idx="9">
                  <c:v>8.6862495206883369E-2</c:v>
                </c:pt>
                <c:pt idx="10">
                  <c:v>0.1052816373234158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6">
                  <c:v>2.476399280447082E-3</c:v>
                </c:pt>
                <c:pt idx="7">
                  <c:v>9.1668879613909376E-3</c:v>
                </c:pt>
                <c:pt idx="10">
                  <c:v>7.3764151963614443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7.1436449174607335E-3</c:v>
                </c:pt>
                <c:pt idx="2">
                  <c:v>2.9401906875188205E-2</c:v>
                </c:pt>
                <c:pt idx="3">
                  <c:v>0.12607359527604595</c:v>
                </c:pt>
                <c:pt idx="5">
                  <c:v>0.25213010765919697</c:v>
                </c:pt>
                <c:pt idx="6">
                  <c:v>2.4578091213436752E-3</c:v>
                </c:pt>
                <c:pt idx="7">
                  <c:v>8.5521297241422135E-3</c:v>
                </c:pt>
                <c:pt idx="8">
                  <c:v>0.39132364067278441</c:v>
                </c:pt>
                <c:pt idx="9">
                  <c:v>0.17575172879192341</c:v>
                </c:pt>
                <c:pt idx="10">
                  <c:v>2.583863736266491E-3</c:v>
                </c:pt>
                <c:pt idx="11">
                  <c:v>4.2531055920174282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4">
                  <c:v>3.1935728484265434E-3</c:v>
                </c:pt>
                <c:pt idx="6">
                  <c:v>2.1825716043672319E-3</c:v>
                </c:pt>
                <c:pt idx="7">
                  <c:v>4.9004663682722807E-3</c:v>
                </c:pt>
                <c:pt idx="10">
                  <c:v>2.8043050324364359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6">
                  <c:v>5.0435530683057717E-3</c:v>
                </c:pt>
                <c:pt idx="7">
                  <c:v>1.1625394479847445E-2</c:v>
                </c:pt>
                <c:pt idx="10">
                  <c:v>7.4514934821173764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0.41578319720218693</c:v>
                </c:pt>
                <c:pt idx="6">
                  <c:v>7.0101742146927604E-2</c:v>
                </c:pt>
                <c:pt idx="7">
                  <c:v>2.1967721720985125E-2</c:v>
                </c:pt>
                <c:pt idx="9">
                  <c:v>5.2986577548062776E-2</c:v>
                </c:pt>
                <c:pt idx="10">
                  <c:v>0.43453376004045885</c:v>
                </c:pt>
                <c:pt idx="11">
                  <c:v>3.4472484479923177E-3</c:v>
                </c:pt>
                <c:pt idx="12">
                  <c:v>5.4787495485867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9">
                  <c:v>2.8231035371234139E-3</c:v>
                </c:pt>
                <c:pt idx="10">
                  <c:v>8.541456285962463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0.41283338226409511</c:v>
                </c:pt>
                <c:pt idx="6">
                  <c:v>6.734849459052232E-2</c:v>
                </c:pt>
                <c:pt idx="7">
                  <c:v>1.6386580516175052E-2</c:v>
                </c:pt>
                <c:pt idx="9">
                  <c:v>5.4127289535044538E-2</c:v>
                </c:pt>
                <c:pt idx="10">
                  <c:v>0.4374843927045447</c:v>
                </c:pt>
                <c:pt idx="11">
                  <c:v>1.181986038961826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9">
                  <c:v>5.0850788674914535E-3</c:v>
                </c:pt>
                <c:pt idx="10">
                  <c:v>9.494602653907464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0.43462412004632861</c:v>
                </c:pt>
                <c:pt idx="6">
                  <c:v>6.1306354692189528E-2</c:v>
                </c:pt>
                <c:pt idx="7">
                  <c:v>2.5558696901447086E-2</c:v>
                </c:pt>
                <c:pt idx="9">
                  <c:v>4.8202240786807821E-3</c:v>
                </c:pt>
                <c:pt idx="10">
                  <c:v>0.4736906042813540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9">
                  <c:v>4.8202240786807821E-3</c:v>
                </c:pt>
                <c:pt idx="10">
                  <c:v>0.1127746169669212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7403361837539186E-3</c:v>
                </c:pt>
                <c:pt idx="2">
                  <c:v>4.9156687201813688E-2</c:v>
                </c:pt>
                <c:pt idx="3">
                  <c:v>1.5322460926377875E-2</c:v>
                </c:pt>
                <c:pt idx="4">
                  <c:v>3.6291236589418288E-3</c:v>
                </c:pt>
                <c:pt idx="5">
                  <c:v>0.43551058204344495</c:v>
                </c:pt>
                <c:pt idx="8">
                  <c:v>0.47945154934812423</c:v>
                </c:pt>
                <c:pt idx="9">
                  <c:v>1.5189260637543566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7">
                  <c:v>2.134918978433729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7.2323910850997956E-3</c:v>
                </c:pt>
                <c:pt idx="1">
                  <c:v>3.0029374209639585E-2</c:v>
                </c:pt>
                <c:pt idx="2">
                  <c:v>1.3260072235208328E-2</c:v>
                </c:pt>
                <c:pt idx="3">
                  <c:v>4.1537920103246036E-2</c:v>
                </c:pt>
                <c:pt idx="4">
                  <c:v>7.5562270831831257E-2</c:v>
                </c:pt>
                <c:pt idx="5">
                  <c:v>6.1540284095095411E-2</c:v>
                </c:pt>
                <c:pt idx="6">
                  <c:v>0.1831223576647234</c:v>
                </c:pt>
                <c:pt idx="7">
                  <c:v>0.26794164527376069</c:v>
                </c:pt>
                <c:pt idx="8">
                  <c:v>0.12529305571168425</c:v>
                </c:pt>
                <c:pt idx="9">
                  <c:v>0.11952001296739617</c:v>
                </c:pt>
                <c:pt idx="10">
                  <c:v>7.3834885075368853E-2</c:v>
                </c:pt>
                <c:pt idx="11">
                  <c:v>9.7924674007412852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7317326504995634E-3</c:v>
                </c:pt>
                <c:pt idx="2">
                  <c:v>4.9172102605190303E-2</c:v>
                </c:pt>
                <c:pt idx="3">
                  <c:v>1.5327587220883452E-2</c:v>
                </c:pt>
                <c:pt idx="4">
                  <c:v>3.6267341626128333E-3</c:v>
                </c:pt>
                <c:pt idx="5">
                  <c:v>0.43558655845726546</c:v>
                </c:pt>
                <c:pt idx="8">
                  <c:v>0.47936451378975942</c:v>
                </c:pt>
                <c:pt idx="9">
                  <c:v>1.5190771113788923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7">
                  <c:v>2.1356477565972556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8.2098172766123009E-2</c:v>
                </c:pt>
                <c:pt idx="2">
                  <c:v>2.766692599215401E-2</c:v>
                </c:pt>
                <c:pt idx="3">
                  <c:v>0.12152540134740045</c:v>
                </c:pt>
                <c:pt idx="4">
                  <c:v>8.807155321736132E-2</c:v>
                </c:pt>
                <c:pt idx="5">
                  <c:v>0.16399541584917099</c:v>
                </c:pt>
                <c:pt idx="6">
                  <c:v>3.8970122847494021E-3</c:v>
                </c:pt>
                <c:pt idx="7">
                  <c:v>6.62353207000244E-2</c:v>
                </c:pt>
                <c:pt idx="8">
                  <c:v>0.26606437773631458</c:v>
                </c:pt>
                <c:pt idx="9">
                  <c:v>0.16673327506438138</c:v>
                </c:pt>
                <c:pt idx="10">
                  <c:v>1.322740057405335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4">
                  <c:v>5.1006066755415164E-2</c:v>
                </c:pt>
                <c:pt idx="6">
                  <c:v>2.6441561849660927E-2</c:v>
                </c:pt>
                <c:pt idx="7">
                  <c:v>8.8038928844814568E-2</c:v>
                </c:pt>
                <c:pt idx="9">
                  <c:v>3.889885955327180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5.4175372255002754E-2</c:v>
                </c:pt>
                <c:pt idx="2">
                  <c:v>9.2660402847081449E-2</c:v>
                </c:pt>
                <c:pt idx="3">
                  <c:v>0.16479500394095559</c:v>
                </c:pt>
                <c:pt idx="4">
                  <c:v>7.0594690426060286E-2</c:v>
                </c:pt>
                <c:pt idx="5">
                  <c:v>0.10830141278533575</c:v>
                </c:pt>
                <c:pt idx="6">
                  <c:v>8.9757687778646202E-3</c:v>
                </c:pt>
                <c:pt idx="7">
                  <c:v>4.2644153977669061E-2</c:v>
                </c:pt>
                <c:pt idx="8">
                  <c:v>0.22660645577361263</c:v>
                </c:pt>
                <c:pt idx="9">
                  <c:v>0.20492307455652828</c:v>
                </c:pt>
                <c:pt idx="10">
                  <c:v>2.5445783256084872E-2</c:v>
                </c:pt>
                <c:pt idx="11">
                  <c:v>8.778814038047288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4">
                  <c:v>7.8311404423753145E-2</c:v>
                </c:pt>
                <c:pt idx="6">
                  <c:v>1.8882348219866989E-2</c:v>
                </c:pt>
                <c:pt idx="7">
                  <c:v>7.9747482769148073E-2</c:v>
                </c:pt>
                <c:pt idx="10">
                  <c:v>5.1515387466375961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8.5517319788469048E-2</c:v>
                </c:pt>
                <c:pt idx="3">
                  <c:v>0.17813299245834574</c:v>
                </c:pt>
                <c:pt idx="5">
                  <c:v>0.21442455324174367</c:v>
                </c:pt>
                <c:pt idx="7">
                  <c:v>1.1509498510208325E-2</c:v>
                </c:pt>
                <c:pt idx="8">
                  <c:v>0.3229479643269409</c:v>
                </c:pt>
                <c:pt idx="9">
                  <c:v>0.18285423394799405</c:v>
                </c:pt>
                <c:pt idx="10">
                  <c:v>4.1821202465198081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4">
                  <c:v>5.9352859898126727E-2</c:v>
                </c:pt>
                <c:pt idx="6">
                  <c:v>4.056330411108755E-2</c:v>
                </c:pt>
                <c:pt idx="7">
                  <c:v>9.1037794309395265E-2</c:v>
                </c:pt>
                <c:pt idx="10">
                  <c:v>4.3239602954386461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3.5548079169897273E-2</c:v>
                </c:pt>
                <c:pt idx="3">
                  <c:v>4.2169192354775738E-2</c:v>
                </c:pt>
                <c:pt idx="5">
                  <c:v>0.23572846538239825</c:v>
                </c:pt>
                <c:pt idx="6">
                  <c:v>7.586484225238363E-2</c:v>
                </c:pt>
                <c:pt idx="7">
                  <c:v>0.46044242473977526</c:v>
                </c:pt>
                <c:pt idx="8">
                  <c:v>9.2131775395986173E-2</c:v>
                </c:pt>
                <c:pt idx="9">
                  <c:v>5.260292959458459E-2</c:v>
                </c:pt>
                <c:pt idx="10">
                  <c:v>5.4946735034043289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7.3222119817831595E-3</c:v>
                </c:pt>
                <c:pt idx="3">
                  <c:v>5.1679227314533381E-3</c:v>
                </c:pt>
                <c:pt idx="5">
                  <c:v>3.808420974352366E-3</c:v>
                </c:pt>
                <c:pt idx="8">
                  <c:v>5.8499854544960617E-3</c:v>
                </c:pt>
                <c:pt idx="9">
                  <c:v>1.108474653294281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7">
                  <c:v>2.4145962907951308E-3</c:v>
                </c:pt>
                <c:pt idx="10">
                  <c:v>4.7859524859267134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4.7204326300153358E-2</c:v>
                </c:pt>
                <c:pt idx="3">
                  <c:v>4.8559042899347739E-2</c:v>
                </c:pt>
                <c:pt idx="5">
                  <c:v>0.19112282846997233</c:v>
                </c:pt>
                <c:pt idx="6">
                  <c:v>5.5063914531849847E-2</c:v>
                </c:pt>
                <c:pt idx="7">
                  <c:v>0.52433907962076154</c:v>
                </c:pt>
                <c:pt idx="8">
                  <c:v>7.6815138517167758E-2</c:v>
                </c:pt>
                <c:pt idx="9">
                  <c:v>5.686107770856165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7">
                  <c:v>4.7848491834714662E-3</c:v>
                </c:pt>
                <c:pt idx="10">
                  <c:v>5.561246332528187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2.0326372359036796E-2</c:v>
                </c:pt>
                <c:pt idx="3">
                  <c:v>7.2599537803512179E-2</c:v>
                </c:pt>
                <c:pt idx="5">
                  <c:v>0.29716697751487675</c:v>
                </c:pt>
                <c:pt idx="7">
                  <c:v>9.1082501661220183E-4</c:v>
                </c:pt>
                <c:pt idx="8">
                  <c:v>0.55832536105652275</c:v>
                </c:pt>
                <c:pt idx="9">
                  <c:v>4.9985573358558646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0">
                  <c:v>6.7360720354495175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3.0132416561429879E-3</c:v>
                </c:pt>
                <c:pt idx="1">
                  <c:v>7.082202882835808E-3</c:v>
                </c:pt>
                <c:pt idx="2">
                  <c:v>2.0858669724864447E-3</c:v>
                </c:pt>
                <c:pt idx="3">
                  <c:v>5.5909517785081346E-2</c:v>
                </c:pt>
                <c:pt idx="4">
                  <c:v>3.9969470512073363E-2</c:v>
                </c:pt>
                <c:pt idx="5">
                  <c:v>8.5141350822573972E-2</c:v>
                </c:pt>
                <c:pt idx="6">
                  <c:v>4.1671457423834685E-2</c:v>
                </c:pt>
                <c:pt idx="7">
                  <c:v>0.20000586803223158</c:v>
                </c:pt>
                <c:pt idx="8">
                  <c:v>0.18311481008226255</c:v>
                </c:pt>
                <c:pt idx="9">
                  <c:v>0.17550032995913264</c:v>
                </c:pt>
                <c:pt idx="10">
                  <c:v>0.2065058838713446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2.4975365598015995E-3</c:v>
                </c:pt>
                <c:pt idx="1">
                  <c:v>1.6379025521232942E-3</c:v>
                </c:pt>
                <c:pt idx="2">
                  <c:v>1.0219016343389E-3</c:v>
                </c:pt>
                <c:pt idx="3">
                  <c:v>5.4936688578910986E-2</c:v>
                </c:pt>
                <c:pt idx="4">
                  <c:v>3.1573981954397423E-2</c:v>
                </c:pt>
                <c:pt idx="5">
                  <c:v>9.5925986929385865E-2</c:v>
                </c:pt>
                <c:pt idx="6">
                  <c:v>3.3815989888744687E-2</c:v>
                </c:pt>
                <c:pt idx="7">
                  <c:v>0.1653838562857024</c:v>
                </c:pt>
                <c:pt idx="8">
                  <c:v>0.2663326767582046</c:v>
                </c:pt>
                <c:pt idx="9">
                  <c:v>0.15851082870636651</c:v>
                </c:pt>
                <c:pt idx="10">
                  <c:v>0.1883626501520236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5.0815776284355207E-4</c:v>
                </c:pt>
                <c:pt idx="3">
                  <c:v>1.017348439062198E-3</c:v>
                </c:pt>
                <c:pt idx="4">
                  <c:v>8.2295467613508672E-2</c:v>
                </c:pt>
                <c:pt idx="6">
                  <c:v>0.1301013877493945</c:v>
                </c:pt>
                <c:pt idx="7">
                  <c:v>0.37290792522911043</c:v>
                </c:pt>
                <c:pt idx="8">
                  <c:v>1.3576844917299524E-2</c:v>
                </c:pt>
                <c:pt idx="9">
                  <c:v>0.39240664061433561</c:v>
                </c:pt>
                <c:pt idx="10">
                  <c:v>6.2662758431142069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4.0810000882490144E-3</c:v>
                </c:pt>
                <c:pt idx="1">
                  <c:v>1.9057746725806689E-2</c:v>
                </c:pt>
                <c:pt idx="2">
                  <c:v>1.3061519103123722E-2</c:v>
                </c:pt>
                <c:pt idx="3">
                  <c:v>6.7854811076461852E-2</c:v>
                </c:pt>
                <c:pt idx="4">
                  <c:v>4.5626593872910418E-2</c:v>
                </c:pt>
                <c:pt idx="5">
                  <c:v>0.17594240996402155</c:v>
                </c:pt>
                <c:pt idx="6">
                  <c:v>5.9953586010787034E-2</c:v>
                </c:pt>
                <c:pt idx="7">
                  <c:v>0.15629945053556907</c:v>
                </c:pt>
                <c:pt idx="8">
                  <c:v>0.25184260675323467</c:v>
                </c:pt>
                <c:pt idx="9">
                  <c:v>8.5453909757794072E-2</c:v>
                </c:pt>
                <c:pt idx="10">
                  <c:v>0.12010973641082048</c:v>
                </c:pt>
                <c:pt idx="11">
                  <c:v>5.863965622843611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6797037320037875E-2</c:v>
                </c:pt>
                <c:pt idx="1">
                  <c:v>4.5156781419718517E-2</c:v>
                </c:pt>
                <c:pt idx="2">
                  <c:v>2.1124239287706442E-2</c:v>
                </c:pt>
                <c:pt idx="3">
                  <c:v>0.13820454776849406</c:v>
                </c:pt>
                <c:pt idx="4">
                  <c:v>7.4020895482192761E-2</c:v>
                </c:pt>
                <c:pt idx="5">
                  <c:v>0.34672443505720385</c:v>
                </c:pt>
                <c:pt idx="6">
                  <c:v>0.14139907863558362</c:v>
                </c:pt>
                <c:pt idx="7">
                  <c:v>0.13967776059534132</c:v>
                </c:pt>
                <c:pt idx="8">
                  <c:v>6.7398654515112802E-2</c:v>
                </c:pt>
                <c:pt idx="9">
                  <c:v>8.2218136030333313E-3</c:v>
                </c:pt>
                <c:pt idx="10">
                  <c:v>1.2747563155753136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5130936481089647E-2</c:v>
                </c:pt>
                <c:pt idx="1">
                  <c:v>3.2843822305474016E-2</c:v>
                </c:pt>
                <c:pt idx="2">
                  <c:v>1.304152019254488E-2</c:v>
                </c:pt>
                <c:pt idx="3">
                  <c:v>6.3976002158169454E-2</c:v>
                </c:pt>
                <c:pt idx="4">
                  <c:v>0.12726869045828998</c:v>
                </c:pt>
                <c:pt idx="5">
                  <c:v>0.14107703973711477</c:v>
                </c:pt>
                <c:pt idx="6">
                  <c:v>0.36236006541336901</c:v>
                </c:pt>
                <c:pt idx="7">
                  <c:v>7.1788863020120317E-2</c:v>
                </c:pt>
                <c:pt idx="8">
                  <c:v>0.1607814740415261</c:v>
                </c:pt>
                <c:pt idx="9">
                  <c:v>1.172286408217030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2.9262381599003958E-2</c:v>
                </c:pt>
                <c:pt idx="1">
                  <c:v>6.7529882543703984E-2</c:v>
                </c:pt>
                <c:pt idx="4">
                  <c:v>0.22654494927316576</c:v>
                </c:pt>
                <c:pt idx="5">
                  <c:v>9.6450797587259059E-3</c:v>
                </c:pt>
                <c:pt idx="6">
                  <c:v>0.46446442441784896</c:v>
                </c:pt>
                <c:pt idx="7">
                  <c:v>0.18869362275035395</c:v>
                </c:pt>
                <c:pt idx="10">
                  <c:v>1.3835303638765041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1.9285822814956487E-3</c:v>
                </c:pt>
                <c:pt idx="3">
                  <c:v>4.9044700492439267E-2</c:v>
                </c:pt>
                <c:pt idx="4">
                  <c:v>2.2585485283414204E-2</c:v>
                </c:pt>
                <c:pt idx="5">
                  <c:v>0.1013458714656256</c:v>
                </c:pt>
                <c:pt idx="6">
                  <c:v>8.0784550457186646E-2</c:v>
                </c:pt>
                <c:pt idx="7">
                  <c:v>0.36238716688551564</c:v>
                </c:pt>
                <c:pt idx="8">
                  <c:v>0.2209832421338763</c:v>
                </c:pt>
                <c:pt idx="9">
                  <c:v>8.8186583552568476E-2</c:v>
                </c:pt>
                <c:pt idx="10">
                  <c:v>6.8646178053328483E-2</c:v>
                </c:pt>
                <c:pt idx="11">
                  <c:v>3.7716438319832274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2.1026893100549375E-3</c:v>
                </c:pt>
                <c:pt idx="3">
                  <c:v>4.916947487787493E-2</c:v>
                </c:pt>
                <c:pt idx="4">
                  <c:v>4.3007935502443258E-2</c:v>
                </c:pt>
                <c:pt idx="5">
                  <c:v>8.8371883951689795E-2</c:v>
                </c:pt>
                <c:pt idx="6">
                  <c:v>5.5873027350611768E-2</c:v>
                </c:pt>
                <c:pt idx="7">
                  <c:v>0.20540382508378988</c:v>
                </c:pt>
                <c:pt idx="8">
                  <c:v>0.36146768532776002</c:v>
                </c:pt>
                <c:pt idx="9">
                  <c:v>8.7438935946093255E-2</c:v>
                </c:pt>
                <c:pt idx="10">
                  <c:v>0.1062833088204093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0/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0/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0/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0/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0/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0/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8" Type="http://schemas.openxmlformats.org/officeDocument/2006/relationships/chart" Target="../charts/chart29.xml"/><Relationship Id="rId3" Type="http://schemas.openxmlformats.org/officeDocument/2006/relationships/notesSlide" Target="../notesSlides/notesSlide10.xml"/><Relationship Id="rId7" Type="http://schemas.openxmlformats.org/officeDocument/2006/relationships/chart" Target="../charts/chart28.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3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chart" Target="../charts/chart32.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8" Type="http://schemas.openxmlformats.org/officeDocument/2006/relationships/chart" Target="../charts/chart35.xml"/><Relationship Id="rId3" Type="http://schemas.openxmlformats.org/officeDocument/2006/relationships/notesSlide" Target="../notesSlides/notesSlide12.xml"/><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36.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chart" Target="../charts/chart38.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xml.rels><?xml version="1.0" encoding="UTF-8" standalone="yes"?>
<Relationships xmlns="http://schemas.openxmlformats.org/package/2006/relationships"><Relationship Id="rId8" Type="http://schemas.openxmlformats.org/officeDocument/2006/relationships/chart" Target="../charts/chart41.xml"/><Relationship Id="rId3" Type="http://schemas.openxmlformats.org/officeDocument/2006/relationships/notesSlide" Target="../notesSlides/notesSlide14.xml"/><Relationship Id="rId7" Type="http://schemas.openxmlformats.org/officeDocument/2006/relationships/chart" Target="../charts/chart40.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3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4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chart" Target="../charts/chart44.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xml.rels><?xml version="1.0" encoding="UTF-8" standalone="yes"?>
<Relationships xmlns="http://schemas.openxmlformats.org/package/2006/relationships"><Relationship Id="rId8" Type="http://schemas.openxmlformats.org/officeDocument/2006/relationships/chart" Target="../charts/chart47.xml"/><Relationship Id="rId3" Type="http://schemas.openxmlformats.org/officeDocument/2006/relationships/notesSlide" Target="../notesSlides/notesSlide16.xml"/><Relationship Id="rId7" Type="http://schemas.openxmlformats.org/officeDocument/2006/relationships/chart" Target="../charts/chart46.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48.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chart" Target="../charts/chart50.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notesSlide" Target="../notesSlides/notesSlide18.xml"/><Relationship Id="rId7" Type="http://schemas.openxmlformats.org/officeDocument/2006/relationships/chart" Target="../charts/chart52.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54.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chart" Target="../charts/chart56.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notesSlide" Target="../notesSlides/notesSlide2.xml"/><Relationship Id="rId7" Type="http://schemas.openxmlformats.org/officeDocument/2006/relationships/chart" Target="../charts/chart4.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xml"/></Relationships>
</file>

<file path=ppt/slides/_rels/slide20.xml.rels><?xml version="1.0" encoding="UTF-8" standalone="yes"?>
<Relationships xmlns="http://schemas.openxmlformats.org/package/2006/relationships"><Relationship Id="rId8" Type="http://schemas.openxmlformats.org/officeDocument/2006/relationships/chart" Target="../charts/chart59.xml"/><Relationship Id="rId3" Type="http://schemas.openxmlformats.org/officeDocument/2006/relationships/notesSlide" Target="../notesSlides/notesSlide20.xml"/><Relationship Id="rId7" Type="http://schemas.openxmlformats.org/officeDocument/2006/relationships/chart" Target="../charts/chart58.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chart" Target="../charts/chart62.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8" Type="http://schemas.openxmlformats.org/officeDocument/2006/relationships/chart" Target="../charts/chart65.xml"/><Relationship Id="rId3" Type="http://schemas.openxmlformats.org/officeDocument/2006/relationships/notesSlide" Target="../notesSlides/notesSlide22.xml"/><Relationship Id="rId7" Type="http://schemas.openxmlformats.org/officeDocument/2006/relationships/chart" Target="../charts/chart64.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6.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chart" Target="../charts/chart68.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8" Type="http://schemas.openxmlformats.org/officeDocument/2006/relationships/chart" Target="../charts/chart71.xml"/><Relationship Id="rId3" Type="http://schemas.openxmlformats.org/officeDocument/2006/relationships/notesSlide" Target="../notesSlides/notesSlide24.xml"/><Relationship Id="rId7" Type="http://schemas.openxmlformats.org/officeDocument/2006/relationships/chart" Target="../charts/chart70.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6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7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chart" Target="../charts/chart74.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8" Type="http://schemas.openxmlformats.org/officeDocument/2006/relationships/chart" Target="../charts/chart77.xml"/><Relationship Id="rId3" Type="http://schemas.openxmlformats.org/officeDocument/2006/relationships/notesSlide" Target="../notesSlides/notesSlide26.xml"/><Relationship Id="rId7" Type="http://schemas.openxmlformats.org/officeDocument/2006/relationships/chart" Target="../charts/chart76.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78.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chart" Target="../charts/chart80.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8" Type="http://schemas.openxmlformats.org/officeDocument/2006/relationships/chart" Target="../charts/chart83.xml"/><Relationship Id="rId3" Type="http://schemas.openxmlformats.org/officeDocument/2006/relationships/notesSlide" Target="../notesSlides/notesSlide28.xml"/><Relationship Id="rId7" Type="http://schemas.openxmlformats.org/officeDocument/2006/relationships/chart" Target="../charts/chart82.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84.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chart" Target="../charts/chart86.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chart" Target="../charts/chart8.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8" Type="http://schemas.openxmlformats.org/officeDocument/2006/relationships/chart" Target="../charts/chart89.xml"/><Relationship Id="rId3" Type="http://schemas.openxmlformats.org/officeDocument/2006/relationships/notesSlide" Target="../notesSlides/notesSlide30.xml"/><Relationship Id="rId7" Type="http://schemas.openxmlformats.org/officeDocument/2006/relationships/chart" Target="../charts/chart88.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90.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chart" Target="../charts/chart92.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xml.rels><?xml version="1.0" encoding="UTF-8" standalone="yes"?>
<Relationships xmlns="http://schemas.openxmlformats.org/package/2006/relationships"><Relationship Id="rId8" Type="http://schemas.openxmlformats.org/officeDocument/2006/relationships/chart" Target="../charts/chart95.xml"/><Relationship Id="rId3" Type="http://schemas.openxmlformats.org/officeDocument/2006/relationships/notesSlide" Target="../notesSlides/notesSlide32.xml"/><Relationship Id="rId7" Type="http://schemas.openxmlformats.org/officeDocument/2006/relationships/chart" Target="../charts/chart94.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96.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chart" Target="../charts/chart98.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xml.rels><?xml version="1.0" encoding="UTF-8" standalone="yes"?>
<Relationships xmlns="http://schemas.openxmlformats.org/package/2006/relationships"><Relationship Id="rId8" Type="http://schemas.openxmlformats.org/officeDocument/2006/relationships/chart" Target="../charts/chart101.xml"/><Relationship Id="rId3" Type="http://schemas.openxmlformats.org/officeDocument/2006/relationships/notesSlide" Target="../notesSlides/notesSlide34.xml"/><Relationship Id="rId7" Type="http://schemas.openxmlformats.org/officeDocument/2006/relationships/chart" Target="../charts/chart100.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9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02.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chart" Target="../charts/chart104.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8" Type="http://schemas.openxmlformats.org/officeDocument/2006/relationships/chart" Target="../charts/chart107.xml"/><Relationship Id="rId3" Type="http://schemas.openxmlformats.org/officeDocument/2006/relationships/notesSlide" Target="../notesSlides/notesSlide36.xml"/><Relationship Id="rId7" Type="http://schemas.openxmlformats.org/officeDocument/2006/relationships/chart" Target="../charts/chart106.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08.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chart" Target="../charts/chart110.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xml.rels><?xml version="1.0" encoding="UTF-8" standalone="yes"?>
<Relationships xmlns="http://schemas.openxmlformats.org/package/2006/relationships"><Relationship Id="rId8" Type="http://schemas.openxmlformats.org/officeDocument/2006/relationships/chart" Target="../charts/chart113.xml"/><Relationship Id="rId3" Type="http://schemas.openxmlformats.org/officeDocument/2006/relationships/notesSlide" Target="../notesSlides/notesSlide38.xml"/><Relationship Id="rId7" Type="http://schemas.openxmlformats.org/officeDocument/2006/relationships/chart" Target="../charts/chart112.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14.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chart" Target="../charts/chart116.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notesSlide" Target="../notesSlides/notesSlide4.xml"/><Relationship Id="rId7"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xml"/></Relationships>
</file>

<file path=ppt/slides/_rels/slide40.xml.rels><?xml version="1.0" encoding="UTF-8" standalone="yes"?>
<Relationships xmlns="http://schemas.openxmlformats.org/package/2006/relationships"><Relationship Id="rId8" Type="http://schemas.openxmlformats.org/officeDocument/2006/relationships/chart" Target="../charts/chart119.xml"/><Relationship Id="rId3" Type="http://schemas.openxmlformats.org/officeDocument/2006/relationships/notesSlide" Target="../notesSlides/notesSlide40.xml"/><Relationship Id="rId7" Type="http://schemas.openxmlformats.org/officeDocument/2006/relationships/chart" Target="../charts/chart118.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0.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chart" Target="../charts/chart122.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xml.rels><?xml version="1.0" encoding="UTF-8" standalone="yes"?>
<Relationships xmlns="http://schemas.openxmlformats.org/package/2006/relationships"><Relationship Id="rId8" Type="http://schemas.openxmlformats.org/officeDocument/2006/relationships/chart" Target="../charts/chart125.xml"/><Relationship Id="rId3" Type="http://schemas.openxmlformats.org/officeDocument/2006/relationships/notesSlide" Target="../notesSlides/notesSlide42.xml"/><Relationship Id="rId7" Type="http://schemas.openxmlformats.org/officeDocument/2006/relationships/chart" Target="../charts/chart124.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6.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chart" Target="../charts/chart128.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xml.rels><?xml version="1.0" encoding="UTF-8" standalone="yes"?>
<Relationships xmlns="http://schemas.openxmlformats.org/package/2006/relationships"><Relationship Id="rId8" Type="http://schemas.openxmlformats.org/officeDocument/2006/relationships/chart" Target="../charts/chart131.xml"/><Relationship Id="rId3" Type="http://schemas.openxmlformats.org/officeDocument/2006/relationships/notesSlide" Target="../notesSlides/notesSlide44.xml"/><Relationship Id="rId7" Type="http://schemas.openxmlformats.org/officeDocument/2006/relationships/chart" Target="../charts/chart130.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2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32.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chart" Target="../charts/chart134.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xml.rels><?xml version="1.0" encoding="UTF-8" standalone="yes"?>
<Relationships xmlns="http://schemas.openxmlformats.org/package/2006/relationships"><Relationship Id="rId8" Type="http://schemas.openxmlformats.org/officeDocument/2006/relationships/chart" Target="../charts/chart137.xml"/><Relationship Id="rId3" Type="http://schemas.openxmlformats.org/officeDocument/2006/relationships/notesSlide" Target="../notesSlides/notesSlide46.xml"/><Relationship Id="rId7" Type="http://schemas.openxmlformats.org/officeDocument/2006/relationships/chart" Target="../charts/chart136.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3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38.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chart" Target="../charts/chart140.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xml.rels><?xml version="1.0" encoding="UTF-8" standalone="yes"?>
<Relationships xmlns="http://schemas.openxmlformats.org/package/2006/relationships"><Relationship Id="rId8" Type="http://schemas.openxmlformats.org/officeDocument/2006/relationships/chart" Target="../charts/chart143.xml"/><Relationship Id="rId3" Type="http://schemas.openxmlformats.org/officeDocument/2006/relationships/notesSlide" Target="../notesSlides/notesSlide48.xml"/><Relationship Id="rId7" Type="http://schemas.openxmlformats.org/officeDocument/2006/relationships/chart" Target="../charts/chart142.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4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44.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chart" Target="../charts/chart146.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14.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xml.rels><?xml version="1.0" encoding="UTF-8" standalone="yes"?>
<Relationships xmlns="http://schemas.openxmlformats.org/package/2006/relationships"><Relationship Id="rId8" Type="http://schemas.openxmlformats.org/officeDocument/2006/relationships/chart" Target="../charts/chart149.xml"/><Relationship Id="rId3" Type="http://schemas.openxmlformats.org/officeDocument/2006/relationships/notesSlide" Target="../notesSlides/notesSlide50.xml"/><Relationship Id="rId7" Type="http://schemas.openxmlformats.org/officeDocument/2006/relationships/chart" Target="../charts/chart148.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4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50.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chart" Target="../charts/chart152.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xml.rels><?xml version="1.0" encoding="UTF-8" standalone="yes"?>
<Relationships xmlns="http://schemas.openxmlformats.org/package/2006/relationships"><Relationship Id="rId8" Type="http://schemas.openxmlformats.org/officeDocument/2006/relationships/chart" Target="../charts/chart155.xml"/><Relationship Id="rId3" Type="http://schemas.openxmlformats.org/officeDocument/2006/relationships/notesSlide" Target="../notesSlides/notesSlide52.xml"/><Relationship Id="rId7" Type="http://schemas.openxmlformats.org/officeDocument/2006/relationships/chart" Target="../charts/chart154.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5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56.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7" Type="http://schemas.openxmlformats.org/officeDocument/2006/relationships/chart" Target="../charts/chart158.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xml.rels><?xml version="1.0" encoding="UTF-8" standalone="yes"?>
<Relationships xmlns="http://schemas.openxmlformats.org/package/2006/relationships"><Relationship Id="rId8" Type="http://schemas.openxmlformats.org/officeDocument/2006/relationships/chart" Target="../charts/chart161.xml"/><Relationship Id="rId3" Type="http://schemas.openxmlformats.org/officeDocument/2006/relationships/notesSlide" Target="../notesSlides/notesSlide54.xml"/><Relationship Id="rId7" Type="http://schemas.openxmlformats.org/officeDocument/2006/relationships/chart" Target="../charts/chart160.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5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62.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chart" Target="../charts/chart164.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xml.rels><?xml version="1.0" encoding="UTF-8" standalone="yes"?>
<Relationships xmlns="http://schemas.openxmlformats.org/package/2006/relationships"><Relationship Id="rId8" Type="http://schemas.openxmlformats.org/officeDocument/2006/relationships/chart" Target="../charts/chart167.xml"/><Relationship Id="rId3" Type="http://schemas.openxmlformats.org/officeDocument/2006/relationships/notesSlide" Target="../notesSlides/notesSlide56.xml"/><Relationship Id="rId7" Type="http://schemas.openxmlformats.org/officeDocument/2006/relationships/chart" Target="../charts/chart166.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6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68.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7" Type="http://schemas.openxmlformats.org/officeDocument/2006/relationships/chart" Target="../charts/chart170.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xml.rels><?xml version="1.0" encoding="UTF-8" standalone="yes"?>
<Relationships xmlns="http://schemas.openxmlformats.org/package/2006/relationships"><Relationship Id="rId8" Type="http://schemas.openxmlformats.org/officeDocument/2006/relationships/chart" Target="../charts/chart173.xml"/><Relationship Id="rId3" Type="http://schemas.openxmlformats.org/officeDocument/2006/relationships/notesSlide" Target="../notesSlides/notesSlide58.xml"/><Relationship Id="rId7" Type="http://schemas.openxmlformats.org/officeDocument/2006/relationships/chart" Target="../charts/chart172.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7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74.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7" Type="http://schemas.openxmlformats.org/officeDocument/2006/relationships/chart" Target="../charts/chart176.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notesSlide" Target="../notesSlides/notesSlide6.xml"/><Relationship Id="rId7" Type="http://schemas.openxmlformats.org/officeDocument/2006/relationships/chart" Target="../charts/chart16.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xml"/></Relationships>
</file>

<file path=ppt/slides/_rels/slide60.xml.rels><?xml version="1.0" encoding="UTF-8" standalone="yes"?>
<Relationships xmlns="http://schemas.openxmlformats.org/package/2006/relationships"><Relationship Id="rId8" Type="http://schemas.openxmlformats.org/officeDocument/2006/relationships/chart" Target="../charts/chart179.xml"/><Relationship Id="rId3" Type="http://schemas.openxmlformats.org/officeDocument/2006/relationships/notesSlide" Target="../notesSlides/notesSlide60.xml"/><Relationship Id="rId7" Type="http://schemas.openxmlformats.org/officeDocument/2006/relationships/chart" Target="../charts/chart178.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7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0.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chart" Target="../charts/chart182.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xml.rels><?xml version="1.0" encoding="UTF-8" standalone="yes"?>
<Relationships xmlns="http://schemas.openxmlformats.org/package/2006/relationships"><Relationship Id="rId8" Type="http://schemas.openxmlformats.org/officeDocument/2006/relationships/chart" Target="../charts/chart185.xml"/><Relationship Id="rId3" Type="http://schemas.openxmlformats.org/officeDocument/2006/relationships/notesSlide" Target="../notesSlides/notesSlide62.xml"/><Relationship Id="rId7" Type="http://schemas.openxmlformats.org/officeDocument/2006/relationships/chart" Target="../charts/chart184.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8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6.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7" Type="http://schemas.openxmlformats.org/officeDocument/2006/relationships/chart" Target="../charts/chart188.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xml.rels><?xml version="1.0" encoding="UTF-8" standalone="yes"?>
<Relationships xmlns="http://schemas.openxmlformats.org/package/2006/relationships"><Relationship Id="rId8" Type="http://schemas.openxmlformats.org/officeDocument/2006/relationships/chart" Target="../charts/chart191.xml"/><Relationship Id="rId3" Type="http://schemas.openxmlformats.org/officeDocument/2006/relationships/notesSlide" Target="../notesSlides/notesSlide64.xml"/><Relationship Id="rId7" Type="http://schemas.openxmlformats.org/officeDocument/2006/relationships/chart" Target="../charts/chart190.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8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92.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7" Type="http://schemas.openxmlformats.org/officeDocument/2006/relationships/chart" Target="../charts/chart194.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xml.rels><?xml version="1.0" encoding="UTF-8" standalone="yes"?>
<Relationships xmlns="http://schemas.openxmlformats.org/package/2006/relationships"><Relationship Id="rId8" Type="http://schemas.openxmlformats.org/officeDocument/2006/relationships/chart" Target="../charts/chart197.xml"/><Relationship Id="rId3" Type="http://schemas.openxmlformats.org/officeDocument/2006/relationships/notesSlide" Target="../notesSlides/notesSlide66.xml"/><Relationship Id="rId7" Type="http://schemas.openxmlformats.org/officeDocument/2006/relationships/chart" Target="../charts/chart196.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9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98.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xml.rels><?xml version="1.0" encoding="UTF-8" standalone="yes"?>
<Relationships xmlns="http://schemas.openxmlformats.org/package/2006/relationships"><Relationship Id="rId8" Type="http://schemas.openxmlformats.org/officeDocument/2006/relationships/chart" Target="../charts/chart23.xml"/><Relationship Id="rId3" Type="http://schemas.openxmlformats.org/officeDocument/2006/relationships/notesSlide" Target="../notesSlides/notesSlide8.xml"/><Relationship Id="rId7" Type="http://schemas.openxmlformats.org/officeDocument/2006/relationships/chart" Target="../charts/chart22.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2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26.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5.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453847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2930955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649976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2352603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691769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866271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417667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2507224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758814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216780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677164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5758936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986316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477280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9089134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633157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0741379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146313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4009663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7614167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653126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225562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7336125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9110136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9290092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6161213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0008078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7692546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1819523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4841797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63137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87282027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696666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74529427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95909035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5271532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7186760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0021014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70289766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5841144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7587915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9818657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92879121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564461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6616005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84127304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3359343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91643047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9879202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10242917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1935028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5196065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1931318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9529855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077648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20838073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55656668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1987705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25889716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5602613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85264087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0874397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2885207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369412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9177885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666973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2.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9</TotalTime>
  <Words>5559</Words>
  <Application>Microsoft Office PowerPoint</Application>
  <PresentationFormat>On-screen Show (16:9)</PresentationFormat>
  <Paragraphs>1788</Paragraphs>
  <Slides>66</Slides>
  <Notes>6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66</vt:i4>
      </vt:variant>
    </vt:vector>
  </HeadingPairs>
  <TitlesOfParts>
    <vt:vector size="7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7</cp:revision>
  <dcterms:created xsi:type="dcterms:W3CDTF">2024-07-05T11:30:58Z</dcterms:created>
  <dcterms:modified xsi:type="dcterms:W3CDTF">2025-09-10T14:56: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